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" ContentType="image/tif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6.xml" ContentType="application/vnd.openxmlformats-officedocument.presentationml.notesSlide+xml"/>
  <Override PartName="/ppt/tags/tag9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6"/>
  </p:notesMasterIdLst>
  <p:handoutMasterIdLst>
    <p:handoutMasterId r:id="rId67"/>
  </p:handoutMasterIdLst>
  <p:sldIdLst>
    <p:sldId id="455" r:id="rId2"/>
    <p:sldId id="905" r:id="rId3"/>
    <p:sldId id="902" r:id="rId4"/>
    <p:sldId id="898" r:id="rId5"/>
    <p:sldId id="899" r:id="rId6"/>
    <p:sldId id="900" r:id="rId7"/>
    <p:sldId id="929" r:id="rId8"/>
    <p:sldId id="878" r:id="rId9"/>
    <p:sldId id="906" r:id="rId10"/>
    <p:sldId id="915" r:id="rId11"/>
    <p:sldId id="917" r:id="rId12"/>
    <p:sldId id="922" r:id="rId13"/>
    <p:sldId id="855" r:id="rId14"/>
    <p:sldId id="918" r:id="rId15"/>
    <p:sldId id="920" r:id="rId16"/>
    <p:sldId id="908" r:id="rId17"/>
    <p:sldId id="909" r:id="rId18"/>
    <p:sldId id="916" r:id="rId19"/>
    <p:sldId id="923" r:id="rId20"/>
    <p:sldId id="927" r:id="rId21"/>
    <p:sldId id="856" r:id="rId22"/>
    <p:sldId id="930" r:id="rId23"/>
    <p:sldId id="928" r:id="rId24"/>
    <p:sldId id="910" r:id="rId25"/>
    <p:sldId id="932" r:id="rId26"/>
    <p:sldId id="933" r:id="rId27"/>
    <p:sldId id="934" r:id="rId28"/>
    <p:sldId id="857" r:id="rId29"/>
    <p:sldId id="859" r:id="rId30"/>
    <p:sldId id="919" r:id="rId31"/>
    <p:sldId id="921" r:id="rId32"/>
    <p:sldId id="931" r:id="rId33"/>
    <p:sldId id="937" r:id="rId34"/>
    <p:sldId id="935" r:id="rId35"/>
    <p:sldId id="936" r:id="rId36"/>
    <p:sldId id="881" r:id="rId37"/>
    <p:sldId id="884" r:id="rId38"/>
    <p:sldId id="883" r:id="rId39"/>
    <p:sldId id="866" r:id="rId40"/>
    <p:sldId id="812" r:id="rId41"/>
    <p:sldId id="727" r:id="rId42"/>
    <p:sldId id="838" r:id="rId43"/>
    <p:sldId id="901" r:id="rId44"/>
    <p:sldId id="837" r:id="rId45"/>
    <p:sldId id="886" r:id="rId46"/>
    <p:sldId id="739" r:id="rId47"/>
    <p:sldId id="869" r:id="rId48"/>
    <p:sldId id="887" r:id="rId49"/>
    <p:sldId id="888" r:id="rId50"/>
    <p:sldId id="889" r:id="rId51"/>
    <p:sldId id="890" r:id="rId52"/>
    <p:sldId id="891" r:id="rId53"/>
    <p:sldId id="892" r:id="rId54"/>
    <p:sldId id="893" r:id="rId55"/>
    <p:sldId id="894" r:id="rId56"/>
    <p:sldId id="895" r:id="rId57"/>
    <p:sldId id="896" r:id="rId58"/>
    <p:sldId id="897" r:id="rId59"/>
    <p:sldId id="938" r:id="rId60"/>
    <p:sldId id="913" r:id="rId61"/>
    <p:sldId id="914" r:id="rId62"/>
    <p:sldId id="939" r:id="rId63"/>
    <p:sldId id="646" r:id="rId64"/>
    <p:sldId id="587" r:id="rId65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/>
  </p:cmAuthor>
  <p:cmAuthor id="2" name="Leilas" initials="L" lastIdx="11" clrIdx="1">
    <p:extLst/>
  </p:cmAuthor>
  <p:cmAuthor id="3" name="Admin" initials="AAA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DFF"/>
    <a:srgbClr val="CFA420"/>
    <a:srgbClr val="3FD384"/>
    <a:srgbClr val="E8BF40"/>
    <a:srgbClr val="FF6699"/>
    <a:srgbClr val="D8EBF4"/>
    <a:srgbClr val="0073B8"/>
    <a:srgbClr val="00339A"/>
    <a:srgbClr val="FF5050"/>
    <a:srgbClr val="4383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343" autoAdjust="0"/>
  </p:normalViewPr>
  <p:slideViewPr>
    <p:cSldViewPr snapToGrid="0">
      <p:cViewPr varScale="1">
        <p:scale>
          <a:sx n="115" d="100"/>
          <a:sy n="115" d="100"/>
        </p:scale>
        <p:origin x="43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9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commentAuthors" Target="commentAuthors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9E3C62-59EE-4BCE-8C75-D8843E8F7BF0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ECC8D9-5382-4DD3-9F8C-7EDDB2AD150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80613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9.02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B466B-9651-4F21-BD55-1FFB048353F2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94541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B466B-9651-4F21-BD55-1FFB048353F2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22326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10195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16031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16031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16031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4938" y="1352550"/>
            <a:ext cx="6483350" cy="36480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1443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26F88D-531B-44D5-84D5-D31C9CB7BDC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02.202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9858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4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48686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16031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02DA13-878E-4078-8C06-A4F716A8958B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41072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FA7F08-0CE0-4619-AE21-2001E025E9BA}" type="slidenum">
              <a:rPr lang="ru-RU" smtClean="0"/>
              <a:t>5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54865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5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60221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5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797939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FA7F08-0CE0-4619-AE21-2001E025E9BA}" type="slidenum">
              <a:rPr lang="ru-RU" smtClean="0"/>
              <a:t>5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09223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5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418637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5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12428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6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44265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6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259575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6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364986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9.02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0972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26347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16031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B466B-9651-4F21-BD55-1FFB048353F2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7557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16031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B466B-9651-4F21-BD55-1FFB048353F2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11110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16031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1603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4" name="Прямоугольник"/>
          <p:cNvSpPr/>
          <p:nvPr/>
        </p:nvSpPr>
        <p:spPr>
          <a:xfrm>
            <a:off x="-1390" y="-5954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 sz="1600"/>
          </a:p>
        </p:txBody>
      </p:sp>
      <p:sp>
        <p:nvSpPr>
          <p:cNvPr id="25" name="Прямоугольник"/>
          <p:cNvSpPr/>
          <p:nvPr/>
        </p:nvSpPr>
        <p:spPr>
          <a:xfrm>
            <a:off x="-1389" y="6546820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>
            <a:extLst/>
          </a:blip>
          <a:srcRect l="39743" r="39743" b="36077"/>
          <a:stretch>
            <a:fillRect/>
          </a:stretch>
        </p:blipFill>
        <p:spPr>
          <a:xfrm>
            <a:off x="11386743" y="476085"/>
            <a:ext cx="523745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967907" y="6500813"/>
            <a:ext cx="247257" cy="255588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410766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143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2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4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4399659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flipH="1">
            <a:off x="11582400" y="6233133"/>
            <a:ext cx="624800" cy="624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6"/>
          <p:cNvSpPr/>
          <p:nvPr/>
        </p:nvSpPr>
        <p:spPr>
          <a:xfrm rot="5400000">
            <a:off x="-133800" y="965980"/>
            <a:ext cx="624800" cy="3572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609600" y="807467"/>
            <a:ext cx="7521200" cy="144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6"/>
          <p:cNvSpPr txBox="1">
            <a:spLocks noGrp="1"/>
          </p:cNvSpPr>
          <p:nvPr>
            <p:ph type="body" idx="1"/>
          </p:nvPr>
        </p:nvSpPr>
        <p:spPr>
          <a:xfrm>
            <a:off x="609600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616" lvl="0" indent="-457212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231" lvl="1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845" lvl="2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461" lvl="3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8076" lvl="4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692" lvl="5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307" lvl="6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922" lvl="7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538" lvl="8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2"/>
          </p:nvPr>
        </p:nvSpPr>
        <p:spPr>
          <a:xfrm>
            <a:off x="4554104" y="2661000"/>
            <a:ext cx="3576800" cy="3572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616" lvl="0" indent="-457212">
              <a:spcBef>
                <a:spcPts val="800"/>
              </a:spcBef>
              <a:spcAft>
                <a:spcPts val="0"/>
              </a:spcAft>
              <a:buSzPts val="1800"/>
              <a:buChar char="▸"/>
              <a:defRPr sz="2400"/>
            </a:lvl1pPr>
            <a:lvl2pPr marL="1219231" lvl="1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2pPr>
            <a:lvl3pPr marL="1828845" lvl="2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3pPr>
            <a:lvl4pPr marL="2438461" lvl="3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4pPr>
            <a:lvl5pPr marL="3048076" lvl="4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5pPr>
            <a:lvl6pPr marL="3657692" lvl="5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6pPr>
            <a:lvl7pPr marL="4267307" lvl="6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7pPr>
            <a:lvl8pPr marL="4876922" lvl="7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8pPr>
            <a:lvl9pPr marL="5486538" lvl="8" indent="-457212">
              <a:spcBef>
                <a:spcPts val="800"/>
              </a:spcBef>
              <a:spcAft>
                <a:spcPts val="0"/>
              </a:spcAft>
              <a:buSzPts val="1800"/>
              <a:buChar char="▹"/>
              <a:defRPr sz="2400"/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sldNum" idx="12"/>
          </p:nvPr>
        </p:nvSpPr>
        <p:spPr>
          <a:xfrm>
            <a:off x="11532033" y="6182333"/>
            <a:ext cx="609200" cy="624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9575142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8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9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359503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09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clck.ru/abzWh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clck.ru/ZRbah" TargetMode="Externa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clck.ru/Ze57F" TargetMode="Externa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jpeg"/><Relationship Id="rId3" Type="http://schemas.openxmlformats.org/officeDocument/2006/relationships/image" Target="../media/image6.emf"/><Relationship Id="rId7" Type="http://schemas.openxmlformats.org/officeDocument/2006/relationships/image" Target="../media/image20.jpeg"/><Relationship Id="rId12" Type="http://schemas.openxmlformats.org/officeDocument/2006/relationships/image" Target="../media/image2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jpeg"/><Relationship Id="rId10" Type="http://schemas.openxmlformats.org/officeDocument/2006/relationships/image" Target="../media/image23.jpeg"/><Relationship Id="rId4" Type="http://schemas.openxmlformats.org/officeDocument/2006/relationships/image" Target="../media/image17.jpeg"/><Relationship Id="rId9" Type="http://schemas.openxmlformats.org/officeDocument/2006/relationships/image" Target="../media/image22.jpeg"/><Relationship Id="rId14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hyperlink" Target="https://clck.ru/aiaUR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hyperlink" Target="https://clck.ru/aiaZs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image" Target="../media/image6.emf"/><Relationship Id="rId7" Type="http://schemas.openxmlformats.org/officeDocument/2006/relationships/image" Target="../media/image39.jpe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jpeg"/><Relationship Id="rId11" Type="http://schemas.openxmlformats.org/officeDocument/2006/relationships/image" Target="../media/image43.png"/><Relationship Id="rId5" Type="http://schemas.openxmlformats.org/officeDocument/2006/relationships/image" Target="../media/image37.jpeg"/><Relationship Id="rId10" Type="http://schemas.openxmlformats.org/officeDocument/2006/relationships/image" Target="../media/image42.png"/><Relationship Id="rId4" Type="http://schemas.openxmlformats.org/officeDocument/2006/relationships/image" Target="../media/image36.jpe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jpeg"/><Relationship Id="rId18" Type="http://schemas.openxmlformats.org/officeDocument/2006/relationships/image" Target="../media/image62.png"/><Relationship Id="rId3" Type="http://schemas.openxmlformats.org/officeDocument/2006/relationships/image" Target="../media/image48.jpe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17" Type="http://schemas.openxmlformats.org/officeDocument/2006/relationships/image" Target="../media/image61.jpe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60.jpeg"/><Relationship Id="rId20" Type="http://schemas.openxmlformats.org/officeDocument/2006/relationships/image" Target="../media/image6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jpeg"/><Relationship Id="rId10" Type="http://schemas.openxmlformats.org/officeDocument/2006/relationships/image" Target="../media/image54.jpeg"/><Relationship Id="rId19" Type="http://schemas.openxmlformats.org/officeDocument/2006/relationships/image" Target="../media/image63.png"/><Relationship Id="rId4" Type="http://schemas.openxmlformats.org/officeDocument/2006/relationships/image" Target="../media/image6.emf"/><Relationship Id="rId9" Type="http://schemas.openxmlformats.org/officeDocument/2006/relationships/image" Target="../media/image53.jpeg"/><Relationship Id="rId14" Type="http://schemas.openxmlformats.org/officeDocument/2006/relationships/image" Target="../media/image58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7.jpeg"/><Relationship Id="rId4" Type="http://schemas.openxmlformats.org/officeDocument/2006/relationships/image" Target="../media/image35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4" Type="http://schemas.openxmlformats.org/officeDocument/2006/relationships/image" Target="../media/image7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5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dsoo.ru/" TargetMode="External"/><Relationship Id="rId2" Type="http://schemas.openxmlformats.org/officeDocument/2006/relationships/hyperlink" Target="http://publication.pravo.gov.ru/Document/View/0001202107050028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publication.pravo.gov.ru/Document/View/0001202112130035" TargetMode="Externa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3" Type="http://schemas.openxmlformats.org/officeDocument/2006/relationships/tags" Target="../tags/tag8.xml"/><Relationship Id="rId7" Type="http://schemas.openxmlformats.org/officeDocument/2006/relationships/image" Target="../media/image80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83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82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87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8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emf"/><Relationship Id="rId3" Type="http://schemas.openxmlformats.org/officeDocument/2006/relationships/image" Target="../media/image93.jpeg"/><Relationship Id="rId7" Type="http://schemas.openxmlformats.org/officeDocument/2006/relationships/image" Target="../media/image97.emf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6.jpeg"/><Relationship Id="rId5" Type="http://schemas.openxmlformats.org/officeDocument/2006/relationships/image" Target="../media/image95.jpeg"/><Relationship Id="rId4" Type="http://schemas.openxmlformats.org/officeDocument/2006/relationships/image" Target="../media/image94.jpeg"/><Relationship Id="rId9" Type="http://schemas.openxmlformats.org/officeDocument/2006/relationships/image" Target="../media/image99.emf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jpeg"/><Relationship Id="rId3" Type="http://schemas.openxmlformats.org/officeDocument/2006/relationships/image" Target="../media/image100.jpeg"/><Relationship Id="rId7" Type="http://schemas.openxmlformats.org/officeDocument/2006/relationships/image" Target="../media/image104.png"/><Relationship Id="rId12" Type="http://schemas.openxmlformats.org/officeDocument/2006/relationships/image" Target="../media/image10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3.png"/><Relationship Id="rId11" Type="http://schemas.openxmlformats.org/officeDocument/2006/relationships/image" Target="../media/image108.jpeg"/><Relationship Id="rId5" Type="http://schemas.openxmlformats.org/officeDocument/2006/relationships/image" Target="../media/image102.jpeg"/><Relationship Id="rId10" Type="http://schemas.openxmlformats.org/officeDocument/2006/relationships/image" Target="../media/image107.jpeg"/><Relationship Id="rId4" Type="http://schemas.openxmlformats.org/officeDocument/2006/relationships/image" Target="../media/image101.jpeg"/><Relationship Id="rId9" Type="http://schemas.openxmlformats.org/officeDocument/2006/relationships/image" Target="../media/image106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gif"/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hyperlink" Target="https://shop.prosv.ru/katalog#/orderby=5&amp;sFilters=4!2304;13!17879;" TargetMode="Externa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gif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2.png"/><Relationship Id="rId5" Type="http://schemas.openxmlformats.org/officeDocument/2006/relationships/image" Target="../media/image111.png"/><Relationship Id="rId4" Type="http://schemas.openxmlformats.org/officeDocument/2006/relationships/hyperlink" Target="https://shop.prosv.ru/katalog#/orderby=5&amp;sFilters=4!2304;13!17879;" TargetMode="Externa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jpeg"/><Relationship Id="rId13" Type="http://schemas.openxmlformats.org/officeDocument/2006/relationships/image" Target="../media/image124.jpeg"/><Relationship Id="rId18" Type="http://schemas.openxmlformats.org/officeDocument/2006/relationships/image" Target="../media/image128.jpeg"/><Relationship Id="rId3" Type="http://schemas.openxmlformats.org/officeDocument/2006/relationships/image" Target="../media/image114.jpeg"/><Relationship Id="rId21" Type="http://schemas.openxmlformats.org/officeDocument/2006/relationships/image" Target="../media/image110.gif"/><Relationship Id="rId7" Type="http://schemas.openxmlformats.org/officeDocument/2006/relationships/image" Target="../media/image118.jpeg"/><Relationship Id="rId12" Type="http://schemas.openxmlformats.org/officeDocument/2006/relationships/image" Target="../media/image123.jpeg"/><Relationship Id="rId17" Type="http://schemas.openxmlformats.org/officeDocument/2006/relationships/image" Target="../media/image127.jpeg"/><Relationship Id="rId2" Type="http://schemas.openxmlformats.org/officeDocument/2006/relationships/notesSlide" Target="../notesSlides/notesSlide19.xml"/><Relationship Id="rId16" Type="http://schemas.openxmlformats.org/officeDocument/2006/relationships/hyperlink" Target="https://shop.prosv.ru/" TargetMode="External"/><Relationship Id="rId20" Type="http://schemas.openxmlformats.org/officeDocument/2006/relationships/image" Target="../media/image130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7.png"/><Relationship Id="rId11" Type="http://schemas.openxmlformats.org/officeDocument/2006/relationships/image" Target="../media/image122.png"/><Relationship Id="rId5" Type="http://schemas.openxmlformats.org/officeDocument/2006/relationships/image" Target="../media/image116.png"/><Relationship Id="rId15" Type="http://schemas.openxmlformats.org/officeDocument/2006/relationships/image" Target="../media/image126.jpeg"/><Relationship Id="rId10" Type="http://schemas.openxmlformats.org/officeDocument/2006/relationships/image" Target="../media/image121.jpeg"/><Relationship Id="rId19" Type="http://schemas.openxmlformats.org/officeDocument/2006/relationships/image" Target="../media/image129.png"/><Relationship Id="rId4" Type="http://schemas.openxmlformats.org/officeDocument/2006/relationships/image" Target="../media/image115.jpeg"/><Relationship Id="rId9" Type="http://schemas.openxmlformats.org/officeDocument/2006/relationships/image" Target="../media/image120.jpeg"/><Relationship Id="rId14" Type="http://schemas.openxmlformats.org/officeDocument/2006/relationships/image" Target="../media/image125.jpeg"/><Relationship Id="rId22" Type="http://schemas.openxmlformats.org/officeDocument/2006/relationships/image" Target="../media/image11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4.sv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image" Target="../media/image411.svg"/><Relationship Id="rId7" Type="http://schemas.openxmlformats.org/officeDocument/2006/relationships/image" Target="../media/image77.sv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5.png"/><Relationship Id="rId5" Type="http://schemas.openxmlformats.org/officeDocument/2006/relationships/image" Target="../media/image431.svg"/><Relationship Id="rId15" Type="http://schemas.openxmlformats.org/officeDocument/2006/relationships/image" Target="../media/image450.svg"/><Relationship Id="rId4" Type="http://schemas.openxmlformats.org/officeDocument/2006/relationships/image" Target="../media/image1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8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2.png"/><Relationship Id="rId5" Type="http://schemas.openxmlformats.org/officeDocument/2006/relationships/image" Target="../media/image141.png"/><Relationship Id="rId4" Type="http://schemas.openxmlformats.org/officeDocument/2006/relationships/image" Target="../media/image14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4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media.prosv.ru/stihi/" TargetMode="External"/><Relationship Id="rId5" Type="http://schemas.openxmlformats.org/officeDocument/2006/relationships/image" Target="../media/image146.png"/><Relationship Id="rId4" Type="http://schemas.openxmlformats.org/officeDocument/2006/relationships/image" Target="../media/image341.sv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2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png"/><Relationship Id="rId13" Type="http://schemas.openxmlformats.org/officeDocument/2006/relationships/image" Target="../media/image132.png"/><Relationship Id="rId3" Type="http://schemas.openxmlformats.org/officeDocument/2006/relationships/tags" Target="../tags/tag11.xml"/><Relationship Id="rId7" Type="http://schemas.openxmlformats.org/officeDocument/2006/relationships/image" Target="../media/image80.emf"/><Relationship Id="rId12" Type="http://schemas.openxmlformats.org/officeDocument/2006/relationships/hyperlink" Target="https://media.prosv.ru/nachinaizer/?utm_source=uchitel.club&amp;utm_medium=webinar&amp;utm_campaign=presentation.teacher.webinar.link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57.jpeg"/><Relationship Id="rId5" Type="http://schemas.openxmlformats.org/officeDocument/2006/relationships/notesSlide" Target="../notesSlides/notesSlide25.xml"/><Relationship Id="rId15" Type="http://schemas.openxmlformats.org/officeDocument/2006/relationships/image" Target="../media/image159.png"/><Relationship Id="rId10" Type="http://schemas.openxmlformats.org/officeDocument/2006/relationships/image" Target="../media/image156.jpe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55.gif"/><Relationship Id="rId14" Type="http://schemas.openxmlformats.org/officeDocument/2006/relationships/image" Target="../media/image15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7" Type="http://schemas.openxmlformats.org/officeDocument/2006/relationships/image" Target="../media/image155.gi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2.png"/><Relationship Id="rId5" Type="http://schemas.openxmlformats.org/officeDocument/2006/relationships/hyperlink" Target="https://media.prosv.ru/nachinaizer/?utm_source=uchitel.club&amp;utm_medium=webinar&amp;utm_campaign=presentation.teacher.webinar.link" TargetMode="External"/><Relationship Id="rId4" Type="http://schemas.openxmlformats.org/officeDocument/2006/relationships/image" Target="../media/image161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4.png"/><Relationship Id="rId4" Type="http://schemas.openxmlformats.org/officeDocument/2006/relationships/image" Target="../media/image163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gif"/><Relationship Id="rId13" Type="http://schemas.openxmlformats.org/officeDocument/2006/relationships/image" Target="../media/image165.png"/><Relationship Id="rId3" Type="http://schemas.openxmlformats.org/officeDocument/2006/relationships/tags" Target="../tags/tag13.xml"/><Relationship Id="rId7" Type="http://schemas.openxmlformats.org/officeDocument/2006/relationships/image" Target="../media/image80.emf"/><Relationship Id="rId12" Type="http://schemas.openxmlformats.org/officeDocument/2006/relationships/image" Target="NUL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34.png"/><Relationship Id="rId5" Type="http://schemas.openxmlformats.org/officeDocument/2006/relationships/notesSlide" Target="../notesSlides/notesSlide28.xml"/><Relationship Id="rId15" Type="http://schemas.openxmlformats.org/officeDocument/2006/relationships/image" Target="../media/image167.png"/><Relationship Id="rId10" Type="http://schemas.openxmlformats.org/officeDocument/2006/relationships/image" Target="../media/image132.png"/><Relationship Id="rId4" Type="http://schemas.openxmlformats.org/officeDocument/2006/relationships/slideLayout" Target="../slideLayouts/slideLayout16.xml"/><Relationship Id="rId9" Type="http://schemas.openxmlformats.org/officeDocument/2006/relationships/hyperlink" Target="https://media.prosv.ru/nachinaizer/?utm_source=uchitel.club&amp;utm_medium=webinar&amp;utm_campaign=presentation.teacher.webinar.link" TargetMode="External"/><Relationship Id="rId14" Type="http://schemas.openxmlformats.org/officeDocument/2006/relationships/image" Target="../media/image166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9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69.gi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clck.ru/ZNjjf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8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55220" y="4376002"/>
            <a:ext cx="10142632" cy="645241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4533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чальное образование</a:t>
            </a:r>
            <a:endParaRPr lang="ru-RU" sz="3200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К «Просвещение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1796537" y="99356"/>
            <a:ext cx="9837274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ая рабочая программа начального общего образования по математике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half" idx="1"/>
          </p:nvPr>
        </p:nvSpPr>
        <p:spPr bwMode="auto">
          <a:xfrm>
            <a:off x="746333" y="1148347"/>
            <a:ext cx="6167492" cy="506423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  <a:defRPr/>
            </a:pPr>
            <a:r>
              <a:rPr lang="ru-RU" sz="2000" b="1" dirty="0"/>
              <a:t>Основные особенности содержания примерной рабочей программы </a:t>
            </a:r>
          </a:p>
          <a:p>
            <a:pPr>
              <a:defRPr/>
            </a:pPr>
            <a:r>
              <a:rPr lang="ru-RU" sz="2000" dirty="0"/>
              <a:t>Значительный потенциал в развитии функциональной </a:t>
            </a:r>
            <a:r>
              <a:rPr lang="ru-RU" sz="2000" dirty="0" smtClean="0"/>
              <a:t>математической грамотности </a:t>
            </a:r>
            <a:r>
              <a:rPr lang="ru-RU" sz="2000" dirty="0"/>
              <a:t>младших школьников, которая характеризуется наличием у него опыта решения учебно-познавательных и </a:t>
            </a:r>
            <a:r>
              <a:rPr lang="ru-RU" sz="2000" dirty="0" smtClean="0"/>
              <a:t>учебно- практических </a:t>
            </a:r>
            <a:r>
              <a:rPr lang="ru-RU" sz="2000" dirty="0"/>
              <a:t>задач, построенных на понимании и </a:t>
            </a:r>
            <a:r>
              <a:rPr lang="ru-RU" sz="2000" dirty="0" smtClean="0"/>
              <a:t>применении математических </a:t>
            </a:r>
            <a:r>
              <a:rPr lang="ru-RU" sz="2000" dirty="0"/>
              <a:t>отношений («часть-целое», «</a:t>
            </a:r>
            <a:r>
              <a:rPr lang="ru-RU" sz="2000" dirty="0" smtClean="0"/>
              <a:t>больше- </a:t>
            </a:r>
            <a:r>
              <a:rPr lang="ru-RU" sz="2000" dirty="0"/>
              <a:t>меньше», «равно-неравно», «порядок»), смысла арифметических действий, зависимостей (работа, движение, продолжительность события).</a:t>
            </a:r>
          </a:p>
          <a:p>
            <a:pPr>
              <a:defRPr/>
            </a:pPr>
            <a:r>
              <a:rPr lang="ru-RU" sz="2000" dirty="0"/>
              <a:t>Содержание обучения в каждом классе завершается перечнем универсальных учебных действий (УУД) — познавательных, коммуникативных и регулятивных, которые возможно формировать средствами учебного предмета «Математика» с учётом возрастных особенностей младших школьников</a:t>
            </a:r>
          </a:p>
          <a:p>
            <a:pPr>
              <a:defRPr/>
            </a:pPr>
            <a:r>
              <a:rPr lang="ru-RU" sz="2000" dirty="0"/>
              <a:t>В познавательных универсальных учебных действиях выделен специальный раздел «Работа с информацией»</a:t>
            </a:r>
          </a:p>
          <a:p>
            <a:pPr>
              <a:defRPr/>
            </a:pPr>
            <a:r>
              <a:rPr lang="ru-RU" sz="2000" dirty="0"/>
              <a:t>Выделен специальный подраздел в </a:t>
            </a:r>
            <a:r>
              <a:rPr lang="ru-RU" sz="2000" dirty="0" err="1"/>
              <a:t>метапредметных</a:t>
            </a:r>
            <a:r>
              <a:rPr lang="ru-RU" sz="2000" dirty="0"/>
              <a:t> результатах: совместная деятельность</a:t>
            </a:r>
          </a:p>
          <a:p>
            <a:pPr>
              <a:defRPr/>
            </a:pPr>
            <a:r>
              <a:rPr lang="ru-RU" sz="2000" dirty="0"/>
              <a:t>Распределены предметные результаты по годам обучения </a:t>
            </a:r>
          </a:p>
          <a:p>
            <a:pPr marL="0" indent="0">
              <a:buNone/>
              <a:defRPr/>
            </a:pPr>
            <a:endParaRPr lang="ru-RU" sz="2000" dirty="0"/>
          </a:p>
          <a:p>
            <a:pPr marL="0" indent="0">
              <a:buFont typeface="Arial"/>
              <a:buNone/>
              <a:defRPr/>
            </a:pPr>
            <a:endParaRPr lang="ru-RU" sz="2000" dirty="0"/>
          </a:p>
        </p:txBody>
      </p:sp>
      <p:sp>
        <p:nvSpPr>
          <p:cNvPr id="9" name="Прямоугольник 37"/>
          <p:cNvSpPr/>
          <p:nvPr/>
        </p:nvSpPr>
        <p:spPr bwMode="auto">
          <a:xfrm>
            <a:off x="0" y="6615411"/>
            <a:ext cx="2718262" cy="1631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lang="ru-RU" sz="1000" dirty="0">
              <a:solidFill>
                <a:schemeClr val="bg1">
                  <a:lumMod val="65000"/>
                </a:schemeClr>
              </a:solidFill>
              <a:cs typeface="Times New Roman"/>
            </a:endParaRPr>
          </a:p>
        </p:txBody>
      </p:sp>
      <p:grpSp>
        <p:nvGrpSpPr>
          <p:cNvPr id="10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1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5" name="Прямая соединительная линия 25"/>
          <p:cNvCxnSpPr>
            <a:cxnSpLocks/>
          </p:cNvCxnSpPr>
          <p:nvPr/>
        </p:nvCxnSpPr>
        <p:spPr bwMode="auto">
          <a:xfrm>
            <a:off x="1753355" y="-2967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Объект 2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7686535" y="980728"/>
            <a:ext cx="2831893" cy="43456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6" name="Прямоугольник 25"/>
          <p:cNvSpPr/>
          <p:nvPr/>
        </p:nvSpPr>
        <p:spPr>
          <a:xfrm>
            <a:off x="7968997" y="5561630"/>
            <a:ext cx="23198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3"/>
              </a:rPr>
              <a:t>https://</a:t>
            </a:r>
            <a:r>
              <a:rPr lang="en-US" dirty="0" smtClean="0">
                <a:hlinkClick r:id="rId3"/>
              </a:rPr>
              <a:t>clck.ru/abzWh</a:t>
            </a:r>
            <a:r>
              <a:rPr lang="en-US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2475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1796537" y="31633"/>
            <a:ext cx="10039663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ая рабочая программа начального общего образования по русскому языку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half" idx="1"/>
          </p:nvPr>
        </p:nvSpPr>
        <p:spPr bwMode="auto">
          <a:xfrm>
            <a:off x="638379" y="1264928"/>
            <a:ext cx="6043760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  <a:defRPr/>
            </a:pPr>
            <a:r>
              <a:rPr lang="ru-RU" sz="2000" b="1" dirty="0"/>
              <a:t>Основные </a:t>
            </a:r>
            <a:r>
              <a:rPr lang="ru-RU" sz="2000" b="1" dirty="0" smtClean="0"/>
              <a:t>особенности содержания примерной </a:t>
            </a:r>
            <a:r>
              <a:rPr lang="ru-RU" sz="2000" b="1" dirty="0"/>
              <a:t>рабочей программы </a:t>
            </a:r>
            <a:endParaRPr lang="ru-RU" sz="2000" b="1" dirty="0" smtClean="0"/>
          </a:p>
          <a:p>
            <a:pPr>
              <a:defRPr/>
            </a:pPr>
            <a:r>
              <a:rPr lang="ru-RU" sz="2000" dirty="0" smtClean="0"/>
              <a:t>Значительный потенциал </a:t>
            </a:r>
            <a:r>
              <a:rPr lang="ru-RU" sz="2000" dirty="0"/>
              <a:t>в развитии функциональной грамотности младших </a:t>
            </a:r>
            <a:r>
              <a:rPr lang="ru-RU" sz="2000" dirty="0" smtClean="0"/>
              <a:t>школьников</a:t>
            </a:r>
          </a:p>
          <a:p>
            <a:pPr>
              <a:defRPr/>
            </a:pPr>
            <a:r>
              <a:rPr lang="ru-RU" sz="2000" dirty="0" smtClean="0"/>
              <a:t>Личностные </a:t>
            </a:r>
            <a:r>
              <a:rPr lang="ru-RU" sz="2000" dirty="0"/>
              <a:t>и </a:t>
            </a:r>
            <a:r>
              <a:rPr lang="ru-RU" sz="2000" dirty="0" err="1"/>
              <a:t>метапредметные</a:t>
            </a:r>
            <a:r>
              <a:rPr lang="ru-RU" sz="2000" dirty="0"/>
              <a:t> результаты представлены с учётом методических традиций и особенностей преподавания русского языка в начальной школе</a:t>
            </a:r>
          </a:p>
          <a:p>
            <a:pPr>
              <a:defRPr/>
            </a:pPr>
            <a:r>
              <a:rPr lang="ru-RU" sz="2000" dirty="0" smtClean="0"/>
              <a:t>Центральной </a:t>
            </a:r>
            <a:r>
              <a:rPr lang="ru-RU" sz="2000" dirty="0"/>
              <a:t>идеей конструирования содержания и планируемых результатов обучения является признание равной значимости работы по изучению системы языка и работы по совершенствованию речи младших школьников.</a:t>
            </a:r>
          </a:p>
          <a:p>
            <a:pPr>
              <a:defRPr/>
            </a:pPr>
            <a:r>
              <a:rPr lang="ru-RU" sz="2000" dirty="0" smtClean="0"/>
              <a:t>Выделен </a:t>
            </a:r>
            <a:r>
              <a:rPr lang="ru-RU" sz="2000" dirty="0"/>
              <a:t>специальный подраздел в </a:t>
            </a:r>
            <a:r>
              <a:rPr lang="ru-RU" sz="2000" dirty="0" err="1"/>
              <a:t>метапредметных</a:t>
            </a:r>
            <a:r>
              <a:rPr lang="ru-RU" sz="2000" dirty="0"/>
              <a:t> результатах: совместная деятельность</a:t>
            </a:r>
          </a:p>
          <a:p>
            <a:pPr>
              <a:defRPr/>
            </a:pPr>
            <a:r>
              <a:rPr lang="ru-RU" sz="2000" dirty="0"/>
              <a:t>Распределены предметные результаты по годам обучения </a:t>
            </a:r>
          </a:p>
          <a:p>
            <a:pPr marL="0" indent="0">
              <a:buNone/>
              <a:defRPr/>
            </a:pPr>
            <a:endParaRPr lang="ru-RU" sz="2000" dirty="0"/>
          </a:p>
        </p:txBody>
      </p:sp>
      <p:sp>
        <p:nvSpPr>
          <p:cNvPr id="7" name="Прямоугольник 7"/>
          <p:cNvSpPr/>
          <p:nvPr/>
        </p:nvSpPr>
        <p:spPr bwMode="auto">
          <a:xfrm>
            <a:off x="8494564" y="5454956"/>
            <a:ext cx="2383281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en-US" sz="2000" spc="-19" dirty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  <a:hlinkClick r:id="rId2"/>
              </a:rPr>
              <a:t>https://</a:t>
            </a:r>
            <a:r>
              <a:rPr lang="en-US" sz="2000" spc="-19" dirty="0" smtClean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  <a:hlinkClick r:id="rId2"/>
              </a:rPr>
              <a:t>clck.ru/ZRbah</a:t>
            </a:r>
            <a:r>
              <a:rPr lang="ru-RU" sz="2000" spc="-19" dirty="0" smtClean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</a:rPr>
              <a:t> </a:t>
            </a:r>
            <a:endParaRPr lang="ru-RU" sz="2000" b="0" i="0" u="none" strike="noStrike" cap="none" spc="-19" dirty="0">
              <a:ln w="0"/>
              <a:solidFill>
                <a:srgbClr val="2D2B8D"/>
              </a:solidFill>
              <a:latin typeface="+mj-lt"/>
              <a:ea typeface="+mj-lt"/>
              <a:cs typeface="+mj-lt"/>
            </a:endParaRPr>
          </a:p>
        </p:txBody>
      </p:sp>
      <p:sp>
        <p:nvSpPr>
          <p:cNvPr id="8" name="Прямоугольник 8"/>
          <p:cNvSpPr/>
          <p:nvPr/>
        </p:nvSpPr>
        <p:spPr bwMode="auto">
          <a:xfrm>
            <a:off x="6918593" y="3382178"/>
            <a:ext cx="3591499" cy="13330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" name="Прямоугольник 37"/>
          <p:cNvSpPr/>
          <p:nvPr/>
        </p:nvSpPr>
        <p:spPr bwMode="auto">
          <a:xfrm>
            <a:off x="0" y="6615411"/>
            <a:ext cx="2718262" cy="1631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lang="ru-RU" sz="1000" dirty="0">
              <a:solidFill>
                <a:schemeClr val="bg1">
                  <a:lumMod val="65000"/>
                </a:schemeClr>
              </a:solidFill>
              <a:cs typeface="Times New Roman"/>
            </a:endParaRPr>
          </a:p>
        </p:txBody>
      </p:sp>
      <p:grpSp>
        <p:nvGrpSpPr>
          <p:cNvPr id="10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1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5" name="Прямая соединительная линия 25"/>
          <p:cNvCxnSpPr>
            <a:cxnSpLocks/>
          </p:cNvCxnSpPr>
          <p:nvPr/>
        </p:nvCxnSpPr>
        <p:spPr bwMode="auto">
          <a:xfrm>
            <a:off x="1753355" y="-2967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Объект 25"/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l="2129" t="2045" r="3341" b="1863"/>
          <a:stretch/>
        </p:blipFill>
        <p:spPr>
          <a:xfrm>
            <a:off x="8113222" y="1030778"/>
            <a:ext cx="2685012" cy="41813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15871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1753355" y="24451"/>
            <a:ext cx="10473923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ая рабочая программа основного общего образования по окружающему 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миру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7" name="Прямоугольник 7"/>
          <p:cNvSpPr/>
          <p:nvPr/>
        </p:nvSpPr>
        <p:spPr bwMode="auto">
          <a:xfrm>
            <a:off x="7608042" y="5776852"/>
            <a:ext cx="2808437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defRPr/>
            </a:pPr>
            <a:r>
              <a:rPr lang="en-US" sz="2000" spc="-19" dirty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  <a:hlinkClick r:id="rId2"/>
              </a:rPr>
              <a:t>https://</a:t>
            </a:r>
            <a:r>
              <a:rPr lang="en-US" sz="2000" spc="-19" dirty="0" smtClean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  <a:hlinkClick r:id="rId2"/>
              </a:rPr>
              <a:t>clck.ru/Ze57F</a:t>
            </a:r>
            <a:endParaRPr lang="ru-RU" sz="2000" spc="-19" dirty="0" smtClean="0">
              <a:ln w="0"/>
              <a:solidFill>
                <a:srgbClr val="2D2B8D"/>
              </a:solidFill>
              <a:latin typeface="+mj-lt"/>
              <a:ea typeface="+mj-lt"/>
              <a:cs typeface="+mj-lt"/>
            </a:endParaRPr>
          </a:p>
          <a:p>
            <a:pPr algn="ctr">
              <a:defRPr/>
            </a:pPr>
            <a:r>
              <a:rPr lang="ru-RU" sz="2000" spc="-19" dirty="0" smtClean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</a:rPr>
              <a:t> </a:t>
            </a:r>
            <a:endParaRPr lang="ru-RU" sz="2000" b="0" i="0" u="none" strike="noStrike" cap="none" spc="-19" dirty="0">
              <a:ln w="0"/>
              <a:solidFill>
                <a:srgbClr val="2D2B8D"/>
              </a:solidFill>
              <a:latin typeface="+mj-lt"/>
              <a:ea typeface="+mj-lt"/>
              <a:cs typeface="+mj-lt"/>
            </a:endParaRPr>
          </a:p>
        </p:txBody>
      </p:sp>
      <p:sp>
        <p:nvSpPr>
          <p:cNvPr id="9" name="Прямоугольник 37"/>
          <p:cNvSpPr/>
          <p:nvPr/>
        </p:nvSpPr>
        <p:spPr bwMode="auto">
          <a:xfrm>
            <a:off x="0" y="6615411"/>
            <a:ext cx="2718262" cy="1631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lang="ru-RU" sz="1000" dirty="0">
              <a:solidFill>
                <a:schemeClr val="bg1">
                  <a:lumMod val="65000"/>
                </a:schemeClr>
              </a:solidFill>
              <a:cs typeface="Times New Roman"/>
            </a:endParaRPr>
          </a:p>
        </p:txBody>
      </p:sp>
      <p:grpSp>
        <p:nvGrpSpPr>
          <p:cNvPr id="10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1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5" name="Прямая соединительная линия 25"/>
          <p:cNvCxnSpPr>
            <a:cxnSpLocks/>
          </p:cNvCxnSpPr>
          <p:nvPr/>
        </p:nvCxnSpPr>
        <p:spPr bwMode="auto">
          <a:xfrm>
            <a:off x="1753355" y="-2967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Объект 2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7359426" y="1228178"/>
            <a:ext cx="3305667" cy="43513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7" name="Объект 4"/>
          <p:cNvSpPr>
            <a:spLocks noGrp="1"/>
          </p:cNvSpPr>
          <p:nvPr>
            <p:ph sz="half" idx="1"/>
          </p:nvPr>
        </p:nvSpPr>
        <p:spPr bwMode="auto">
          <a:xfrm>
            <a:off x="685042" y="1253330"/>
            <a:ext cx="4978910" cy="4767957"/>
          </a:xfrm>
        </p:spPr>
        <p:txBody>
          <a:bodyPr>
            <a:normAutofit fontScale="92500" lnSpcReduction="20000"/>
          </a:bodyPr>
          <a:lstStyle/>
          <a:p>
            <a:pPr marL="0" indent="0">
              <a:lnSpc>
                <a:spcPct val="110000"/>
              </a:lnSpc>
              <a:buNone/>
              <a:defRPr/>
            </a:pPr>
            <a:r>
              <a:rPr lang="ru-RU" sz="1800" b="1" dirty="0"/>
              <a:t>Основные особенности  содержания примерной рабочей программы </a:t>
            </a:r>
          </a:p>
          <a:p>
            <a:pPr>
              <a:defRPr/>
            </a:pPr>
            <a:r>
              <a:rPr lang="ru-RU" sz="2000" dirty="0" smtClean="0"/>
              <a:t>Соотнесены личностные и </a:t>
            </a:r>
            <a:r>
              <a:rPr lang="ru-RU" sz="2000" dirty="0" err="1" smtClean="0"/>
              <a:t>метапредметные</a:t>
            </a:r>
            <a:r>
              <a:rPr lang="ru-RU" sz="2000" dirty="0" smtClean="0"/>
              <a:t> результаты со спецификой предметного содержания </a:t>
            </a:r>
          </a:p>
          <a:p>
            <a:pPr>
              <a:defRPr/>
            </a:pPr>
            <a:r>
              <a:rPr lang="ru-RU" sz="2000" dirty="0" smtClean="0"/>
              <a:t>Содержание </a:t>
            </a:r>
            <a:r>
              <a:rPr lang="ru-RU" sz="2000" dirty="0"/>
              <a:t>курса «Окружающий мир» </a:t>
            </a:r>
            <a:r>
              <a:rPr lang="ru-RU" sz="2000" dirty="0" smtClean="0"/>
              <a:t>ориентировано  на раскрытие </a:t>
            </a:r>
            <a:r>
              <a:rPr lang="ru-RU" sz="2000" dirty="0"/>
              <a:t>роли человека в природе и </a:t>
            </a:r>
            <a:r>
              <a:rPr lang="ru-RU" sz="2000" dirty="0" smtClean="0"/>
              <a:t>обществе, освоение </a:t>
            </a:r>
            <a:r>
              <a:rPr lang="ru-RU" sz="2000" dirty="0"/>
              <a:t>общечеловеческих ценностей взаимодействия в системах «Человек и природа», «Человек и общество», «Человек и другие люди», «Человек и его самость», «Человек и познание»</a:t>
            </a:r>
            <a:endParaRPr lang="ru-RU" sz="2000" dirty="0" smtClean="0"/>
          </a:p>
          <a:p>
            <a:pPr>
              <a:defRPr/>
            </a:pPr>
            <a:r>
              <a:rPr lang="ru-RU" sz="2000" dirty="0" smtClean="0"/>
              <a:t>Выделен специальный подраздел в </a:t>
            </a:r>
            <a:r>
              <a:rPr lang="ru-RU" sz="2000" dirty="0" err="1" smtClean="0"/>
              <a:t>метапредметных</a:t>
            </a:r>
            <a:r>
              <a:rPr lang="ru-RU" sz="2000" dirty="0" smtClean="0"/>
              <a:t> результатах: совместная деятельность</a:t>
            </a:r>
          </a:p>
          <a:p>
            <a:pPr>
              <a:defRPr/>
            </a:pPr>
            <a:r>
              <a:rPr lang="ru-RU" sz="2000" dirty="0" smtClean="0"/>
              <a:t>Распределены предметные результаты по годам обучения </a:t>
            </a:r>
          </a:p>
          <a:p>
            <a:pPr>
              <a:defRPr/>
            </a:pPr>
            <a:endParaRPr lang="ru-RU" sz="2000" dirty="0" smtClean="0"/>
          </a:p>
          <a:p>
            <a:pPr marL="0" indent="0">
              <a:buNone/>
              <a:defRPr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29364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2"/>
            <a:ext cx="12192000" cy="97559"/>
          </a:xfrm>
          <a:prstGeom prst="rect">
            <a:avLst/>
          </a:prstGeom>
        </p:spPr>
      </p:pic>
      <p:grpSp>
        <p:nvGrpSpPr>
          <p:cNvPr id="31" name="Группа 3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1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© ГК «Просвещение», 2022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одзаголовок 2"/>
          <p:cNvSpPr txBox="1">
            <a:spLocks/>
          </p:cNvSpPr>
          <p:nvPr/>
        </p:nvSpPr>
        <p:spPr>
          <a:xfrm>
            <a:off x="1895426" y="266144"/>
            <a:ext cx="10760784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 b="1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defRPr>
            </a:lvl1pPr>
          </a:lstStyle>
          <a:p>
            <a:r>
              <a:rPr lang="ru-RU" dirty="0"/>
              <a:t>СИСТЕМА «ШКОЛА РОССИИ»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918662" y="1918846"/>
            <a:ext cx="5162203" cy="34817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232" tIns="45616" rIns="91232" bIns="45616">
            <a:spAutoFit/>
          </a:bodyPr>
          <a:lstStyle/>
          <a:p>
            <a:pPr>
              <a:lnSpc>
                <a:spcPct val="115000"/>
              </a:lnSpc>
              <a:spcBef>
                <a:spcPct val="0"/>
              </a:spcBef>
              <a:defRPr/>
            </a:pPr>
            <a:endParaRPr lang="ru-RU" altLang="ru-RU" sz="1400" dirty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pPr defTabSz="914377"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endParaRPr lang="ru-RU" sz="14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своени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знаний, умений и навыков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 формирование УУД через активные методы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учения</a:t>
            </a: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en-US" sz="14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еспечени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оддержания познавательной мотивации, интереса к самостоятельной 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еятельности</a:t>
            </a:r>
          </a:p>
          <a:p>
            <a:pPr defTabSz="914377"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endParaRPr lang="ru-RU" sz="14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спешно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учение детей с разными стартовыми возможностями</a:t>
            </a:r>
          </a:p>
          <a:p>
            <a:pPr defTabSz="914377"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endParaRPr lang="en-US" sz="14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9" name="Picture 5" descr="C:\Users\AZueva\Desktop\НОВЫЕ обложки\ШР\1 кл\OM ShRos 1_1 Cover__N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031" y="4769951"/>
            <a:ext cx="1138460" cy="14220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" descr="Изображение Русский язык. 4 класс. В 2-х ч. Ч. 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2659" y="1054096"/>
            <a:ext cx="1084645" cy="1452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" descr="Изображение Математика. 4 класс. В 2-х ч. Ч. 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1517" y="2928489"/>
            <a:ext cx="1163763" cy="14030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8" descr="Изображение Окружающий мир. 4 класс. В 2-х ч. Ч. 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7569" y="4769950"/>
            <a:ext cx="1062689" cy="14220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0" descr="Изображение Технология. 1 класс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0153" y="4733534"/>
            <a:ext cx="1157414" cy="14220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4" descr="Изображение Технология. 4 класс.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2659" y="4733534"/>
            <a:ext cx="1180595" cy="14220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6" descr="C:\Users\AZueva\Desktop\НОВЫЕ обложки\ШР\1 кл\Goreckiy Azbuka-1-Cover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67" y="1103145"/>
            <a:ext cx="1094605" cy="14220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 descr="C:\Users\AZueva\Desktop\НОВЫЕ обложки\ШР\1 кл\Kanakina-Rus-1-Cover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5573" y="1062934"/>
            <a:ext cx="1131792" cy="1452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3" descr="C:\Users\AZueva\Desktop\НОВЫЕ обложки\ШР\1 кл\LCH-1-1-Cover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362" y="2909440"/>
            <a:ext cx="1103798" cy="14220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 descr="Изображение Литературное чтение. 4 класс. В 2-х ч. Ч. 1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9531" y="2913988"/>
            <a:ext cx="1098766" cy="14320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" descr="C:\Users\AZueva\Desktop\НОВЫЕ обложки\ШР\1 кл\Moro_1-1_Cover_NO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469" y="2928489"/>
            <a:ext cx="1131792" cy="14220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5847103" y="1084831"/>
            <a:ext cx="599853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ЛУЧШИЕ ТРАДИЦИИ РОССИЙСКОГО ОБРАЗОВАНИЯ 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И </a:t>
            </a: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ОВЕРЕННЫЕ ПРАКТИКОЙ ИННОВАЦИИ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02954" y="2637596"/>
            <a:ext cx="170596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1.1.1.1.1.1.1 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686339" y="2621956"/>
            <a:ext cx="244261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1.1.1.2 – 1.1.1.1.1.1.5  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16733" y="4420276"/>
            <a:ext cx="244261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1.1.1.3.1.8.1 –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3.1.8.4  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00640" y="6291519"/>
            <a:ext cx="244261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1.1.1.7.1.4.1 –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7.1.4.4 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674119" y="6292103"/>
            <a:ext cx="244261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1.1.1.4.1.3.1 –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4.1.3.4 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688855" y="4422738"/>
            <a:ext cx="244261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1.1.1.1.2.2.1 –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1.2.2.4  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74580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3119" y="-29643"/>
            <a:ext cx="9000000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01434032"/>
              </p:ext>
            </p:extLst>
          </p:nvPr>
        </p:nvGraphicFramePr>
        <p:xfrm>
          <a:off x="1504083" y="456476"/>
          <a:ext cx="10557324" cy="63515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50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545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522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9083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держание учебника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мерная рабочая программа  по предмету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ментарий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звитие речи. </a:t>
                      </a:r>
                      <a:endParaRPr lang="ru-RU" sz="1200" b="1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Развитие речи.  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  <a:endParaRPr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6992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лово и предложение. Восприятие слова как объекта изучения, материала для анализа. Наблюдение над значением слова. Различение слова и предложения. Работа с предложением: выделение слов, изменение их порядка. </a:t>
                      </a:r>
                      <a:endParaRPr lang="ru-RU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Слово и предложение. Различение слова и предложения. Работа с предложением: выделение слов, изменение их порядка. Восприятие слова как объекта изучения, материала для анализа. Наблюдение над значением слова.</a:t>
                      </a:r>
                      <a:endParaRPr sz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  <a:p>
                      <a:pPr>
                        <a:defRPr/>
                      </a:pPr>
                      <a:endParaRPr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60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онетика. Звуки речи. </a:t>
                      </a:r>
                      <a:endParaRPr lang="ru-RU" sz="1200" b="1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Фонетика. Звуки речи. 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Графика. Различение звука и буквы: буква как знак звука. Овладение позиционным способом обозначения звуков буквами. Буквы гласных как показатель твёрдости-мягкости согласных звуков. Функция букв е, ё, ю, я. Мягкий знак (ь) как показатель мягкости предшествующего согласного звука. Знакомство с русским алфавитом как последовательностью букв.</a:t>
                      </a:r>
                      <a:endParaRPr sz="1200" b="1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Графика. Различение звука и буквы: буква как знак звука. Слоговой принцип русской графики. Буквы гласных как показатель твёрдости — мягкости согласных звуков. Функции букв е, ё, ю, я. Мягкий знак как показатель мягкости предшествующего согласного звука в конце слова. Последовательность букв в русском алфавите.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  <a:p>
                      <a:pPr>
                        <a:defRPr/>
                      </a:pPr>
                      <a:endParaRPr lang="ru-RU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endParaRPr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ение.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ение.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0309613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исьмо. Письмо букв, буквосочетаний, слогов, слов, предложений с соблюдением гигиенических норм.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исьмо. Письмо букв, буквосочетаний, слогов, слов, предложений с соблюдением гигиенических норм.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0007090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. Знакомство с правилами правописания и их применение: раздельное написание слов; обозначение гласных после шипящих (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а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ща, чу—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щу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жи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ши); прописная (заглавная) буква в начале предложения, в именах собственных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. Правила правописания и их применение: раздельное написание слов; обозначение гласных после шипящих в сочетаниях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жи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ши (в положении под ударением),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а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ща, чу,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щу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 прописная буква в начале предложения, в именах собственных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070106907"/>
                  </a:ext>
                </a:extLst>
              </a:tr>
            </a:tbl>
          </a:graphicData>
        </a:graphic>
      </p:graphicFrame>
      <p:pic>
        <p:nvPicPr>
          <p:cNvPr id="24" name="Picture 6" descr="C:\Users\AZueva\Desktop\НОВЫЕ обложки\ШР\1 кл\Goreckiy Azbuka-1-Cov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32" y="719233"/>
            <a:ext cx="1094605" cy="14220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042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44145"/>
            <a:ext cx="9000000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43957560"/>
              </p:ext>
            </p:extLst>
          </p:nvPr>
        </p:nvGraphicFramePr>
        <p:xfrm>
          <a:off x="2365199" y="633518"/>
          <a:ext cx="9420574" cy="4193841"/>
        </p:xfrm>
        <a:graphic>
          <a:graphicData uri="http://schemas.openxmlformats.org/drawingml/2006/table">
            <a:tbl>
              <a:tblPr firstRow="1" bandRow="1"/>
              <a:tblGrid>
                <a:gridCol w="43451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97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81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62807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держание учебника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мерная рабочая программа  по предмету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ментарий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032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Язык и речь, их значение в жизни людей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щие сведения о языке </a:t>
                      </a:r>
                    </a:p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Язык как основное средство человеческого общения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  <a:endParaRPr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495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нетика и орфоэпия.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нетика. Орфоэпия.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рафика.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рафика.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ексика (изучается во всех разделах)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ексика.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34477745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интаксис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интаксис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39889637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.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2574929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 речи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 речи.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976938"/>
                  </a:ext>
                </a:extLst>
              </a:tr>
            </a:tbl>
          </a:graphicData>
        </a:graphic>
      </p:graphicFrame>
      <p:pic>
        <p:nvPicPr>
          <p:cNvPr id="24" name="Picture 2" descr="Изображение Русский язык. 1 класс. Учебник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30" y="672340"/>
            <a:ext cx="1647007" cy="21516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812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44145"/>
            <a:ext cx="9000000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99244496"/>
              </p:ext>
            </p:extLst>
          </p:nvPr>
        </p:nvGraphicFramePr>
        <p:xfrm>
          <a:off x="1286786" y="1070687"/>
          <a:ext cx="10380785" cy="43328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60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382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822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527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держание учебника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мерная рабочая программа  по предмету</a:t>
                      </a:r>
                      <a:endPara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ментарий</a:t>
                      </a:r>
                      <a:endPara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0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Жили-были буквы»</a:t>
                      </a:r>
                    </a:p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Сказки, загадки, небылицы»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казка народная (фольклорная) и литературная (авторска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Я и мои друзья»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едения о детях и для дете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Апрель, апрель. Звенит капель...» 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едения о родной природе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Сказки, загадки, небылицы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тное народное творчество — малые фольклорные жанр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О братьях наших меньших»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едения о братьях наших меньших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едения о маме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элементы содержания </a:t>
                      </a:r>
                      <a:endParaRPr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50906338"/>
                  </a:ext>
                </a:extLst>
              </a:tr>
              <a:tr h="333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И в шутку и всерьёз»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Жили-были буквы»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льклорные и авторские произведения о чудесах и фантаз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05162655"/>
                  </a:ext>
                </a:extLst>
              </a:tr>
              <a:tr h="333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водный урок , рубрика «В мире книг» на последующих уроках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иблиографическая культура (работа с детской книгой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0927152"/>
                  </a:ext>
                </a:extLst>
              </a:tr>
            </a:tbl>
          </a:graphicData>
        </a:graphic>
      </p:graphicFrame>
      <p:pic>
        <p:nvPicPr>
          <p:cNvPr id="24" name="Picture 3" descr="C:\Users\AZueva\Desktop\НОВЫЕ обложки\ШР\1 кл\LCH-1-1-Cov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1" y="769071"/>
            <a:ext cx="839938" cy="10821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273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872842" y="194744"/>
            <a:ext cx="9000000" cy="64112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екомендации по работе с  отсутствующим разделом «Произведения о маме»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6" name="Группа 4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7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1" name="Прямая соединительная линия 21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Объект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95629736"/>
              </p:ext>
            </p:extLst>
          </p:nvPr>
        </p:nvGraphicFramePr>
        <p:xfrm>
          <a:off x="774189" y="908301"/>
          <a:ext cx="10515598" cy="21457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3482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73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353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600"/>
                        <a:t>Отсутствующие элементы содержания</a:t>
                      </a:r>
                      <a:endParaRPr sz="1600"/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600" dirty="0"/>
                        <a:t>Рекомендации по компенсации</a:t>
                      </a:r>
                      <a:endParaRPr sz="1600" dirty="0"/>
                    </a:p>
                    <a:p>
                      <a:pPr algn="ctr">
                        <a:defRPr/>
                      </a:pPr>
                      <a:endParaRPr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6598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dirty="0" smtClean="0"/>
                        <a:t>Отсутствуют</a:t>
                      </a:r>
                      <a:r>
                        <a:rPr lang="ru-RU" baseline="0" dirty="0" smtClean="0"/>
                        <a:t> произведения о маме</a:t>
                      </a:r>
                      <a:endParaRPr lang="ru-RU" dirty="0"/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/>
                      <a:r>
                        <a:rPr lang="ru-RU" sz="1800" baseline="0" dirty="0" smtClean="0"/>
                        <a:t>Использовать  «Тренажер по чтению. </a:t>
                      </a:r>
                      <a:r>
                        <a:rPr lang="ru-RU" sz="1800" baseline="0" dirty="0" err="1" smtClean="0"/>
                        <a:t>Послебукварный</a:t>
                      </a:r>
                      <a:r>
                        <a:rPr lang="ru-RU" sz="1800" baseline="0" dirty="0" smtClean="0"/>
                        <a:t> период» 1 класс, автор О.В. Фомин</a:t>
                      </a:r>
                    </a:p>
                    <a:p>
                      <a:pPr lvl="1"/>
                      <a:r>
                        <a:rPr lang="ru-RU" sz="18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овать цифровой сервис «Учим стихи»</a:t>
                      </a:r>
                    </a:p>
                    <a:p>
                      <a:pPr lvl="1"/>
                      <a:r>
                        <a:rPr lang="ru-RU" sz="18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овать пособие «Грамотный читатель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703603" y="6054885"/>
            <a:ext cx="22156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2"/>
              </a:rPr>
              <a:t>https://</a:t>
            </a:r>
            <a:r>
              <a:rPr lang="ru-RU" dirty="0" smtClean="0">
                <a:hlinkClick r:id="rId2"/>
              </a:rPr>
              <a:t>clck.ru/aiaUR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4098" name="Picture 2" descr="Изображение Тренажер по чтению. Послебукварный период. 1 класс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9962" y="3120484"/>
            <a:ext cx="2042952" cy="26880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77931" y="5510364"/>
            <a:ext cx="21403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4"/>
              </a:rPr>
              <a:t>https://</a:t>
            </a:r>
            <a:r>
              <a:rPr lang="ru-RU" dirty="0" smtClean="0">
                <a:hlinkClick r:id="rId4"/>
              </a:rPr>
              <a:t>clck.ru/aiaZs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715" y="2885100"/>
            <a:ext cx="6111888" cy="25551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9202" name="Picture 2" descr="Изображение Грамотный читатель. Обучение смысловому чтению. 1-2 классы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9273" y="3112613"/>
            <a:ext cx="2072796" cy="27670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8556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0"/>
            <a:ext cx="9000000" cy="71923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92174841"/>
              </p:ext>
            </p:extLst>
          </p:nvPr>
        </p:nvGraphicFramePr>
        <p:xfrm>
          <a:off x="1601968" y="822960"/>
          <a:ext cx="9337853" cy="389810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1770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6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546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114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Содержание учебника </a:t>
                      </a:r>
                      <a:endParaRPr sz="12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/>
                        <a:t>Примерная рабочая программа  по предмету</a:t>
                      </a:r>
                      <a:endParaRPr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Комментарий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7598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Числа и величины. Числа от 1 до 9</a:t>
                      </a:r>
                      <a:endParaRPr sz="12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Числа и величины. Числа от 1 до 9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7598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Арифметические действия. 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Арифметические действия. 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  <a:endParaRPr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7598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Текстовые</a:t>
                      </a:r>
                      <a:r>
                        <a:rPr lang="ru-RU" sz="1200" baseline="0" dirty="0" smtClean="0"/>
                        <a:t> задачи. </a:t>
                      </a:r>
                      <a:endParaRPr sz="12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Текстовые задачи. 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  <a:endParaRPr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75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странственные отношения и геометрические фигуры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остранственные отношения и геометрические фигуры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76229458"/>
                  </a:ext>
                </a:extLst>
              </a:tr>
              <a:tr h="970511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атематическая информация. Сбор и представление информации, связанной со счётом объектов и измерением величин; анализ и представление информации в разных формах.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Математическая информация. Сбор данных об объекте по образцу. Характеристики объекта, группы объектов (количество, форма, размер). 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</a:p>
                    <a:p>
                      <a:pPr>
                        <a:defRPr/>
                      </a:pPr>
                      <a:endParaRPr lang="ru-RU" sz="1200" b="1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1890875"/>
                  </a:ext>
                </a:extLst>
              </a:tr>
            </a:tbl>
          </a:graphicData>
        </a:graphic>
      </p:graphicFrame>
      <p:pic>
        <p:nvPicPr>
          <p:cNvPr id="24" name="Picture 4" descr="C:\Users\AZueva\Desktop\НОВЫЕ обложки\ШР\1 кл\Moro_1-1_Cover_N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845" y="719233"/>
            <a:ext cx="1131792" cy="14220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643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731886" y="99112"/>
            <a:ext cx="10538652" cy="400110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азделам </a:t>
            </a: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3072511"/>
              </p:ext>
            </p:extLst>
          </p:nvPr>
        </p:nvGraphicFramePr>
        <p:xfrm>
          <a:off x="1753354" y="601299"/>
          <a:ext cx="10200236" cy="5572380"/>
        </p:xfrm>
        <a:graphic>
          <a:graphicData uri="http://schemas.openxmlformats.org/drawingml/2006/table">
            <a:tbl>
              <a:tblPr firstRow="1" bandRow="1"/>
              <a:tblGrid>
                <a:gridCol w="35426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986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589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65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/>
                        <a:t>Содержание учебника </a:t>
                      </a:r>
                      <a:endParaRPr sz="110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/>
                        <a:t>Примерная рабочая программа  по предмету</a:t>
                      </a:r>
                      <a:endParaRPr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/>
                        <a:t>Комментарий</a:t>
                      </a:r>
                      <a:endParaRPr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09502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Где и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огда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»</a:t>
                      </a:r>
                    </a:p>
                    <a:p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гда учиться интересно?</a:t>
                      </a:r>
                    </a:p>
                    <a:p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ект «Мой класс и моя школа»</a:t>
                      </a:r>
                    </a:p>
                    <a:p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Что и кто?»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о такое Родина?</a:t>
                      </a:r>
                    </a:p>
                    <a:p>
                      <a:pPr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о мы знаем о народах России?</a:t>
                      </a:r>
                    </a:p>
                    <a:p>
                      <a:pPr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о мы знаем о Москве?</a:t>
                      </a:r>
                    </a:p>
                    <a:p>
                      <a:pPr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Как, откуда и куда?»</a:t>
                      </a:r>
                    </a:p>
                    <a:p>
                      <a:pPr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к живёт семья?</a:t>
                      </a:r>
                    </a:p>
                    <a:p>
                      <a:pPr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гда мы станем взрослыми?</a:t>
                      </a:r>
                      <a:endParaRPr sz="11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и общество</a:t>
                      </a:r>
                      <a:endParaRPr sz="1100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Рабочее место школьника. Правила безопасной работы на  учебном месте, режим труда и  отдыха". Ценность</a:t>
                      </a:r>
                      <a:r>
                        <a:rPr lang="ru-RU" sz="1100" b="1" dirty="0" smtClean="0"/>
                        <a:t> и красота рукотворного мира. 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6176"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Что и кто?»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и природ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Природа и предметы, созданные человеком. Природные материалы. Бережное отношение к  предметам, вещам, уход за ними. Неживая и живая природа. Погода и термометр. Наблюдение за погодой своего края. Сезонные изменения в природе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7586984"/>
                  </a:ext>
                </a:extLst>
              </a:tr>
              <a:tr h="1720002"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Что и кто?»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о вокруг нас может быть опасным?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Как, откуда и куда?»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куда в наш дом приходит электричество?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Почему и зачем?»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чем мы спим ночью?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чему полезно есть овощи и фрукты?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чему нужно чистить зубы и мыть руки?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чему в автомобиле и поезде нужно соблюдать правила безопасности?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чему на корабле и в самолёте нужно соблюдать правила безопасности?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авила безопасной жизни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Безопасность в сети Интернет (электронный дневник и электронные ресурсы школы) в  условиях контролируемого доступа в  Интернет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6278803"/>
                  </a:ext>
                </a:extLst>
              </a:tr>
            </a:tbl>
          </a:graphicData>
        </a:graphic>
      </p:graphicFrame>
      <p:pic>
        <p:nvPicPr>
          <p:cNvPr id="24" name="Picture 5" descr="C:\Users\AZueva\Desktop\НОВЫЕ обложки\ШР\1 кл\OM ShRos 1_1 Cover__N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024" y="870486"/>
            <a:ext cx="1138460" cy="14220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705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537914" y="760455"/>
            <a:ext cx="5969000" cy="3077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едметные  результаты: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186895" y="61383"/>
            <a:ext cx="1268960" cy="438775"/>
            <a:chOff x="254665" y="195486"/>
            <a:chExt cx="951720" cy="329081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9" name="TextBox 6"/>
          <p:cNvSpPr txBox="1"/>
          <p:nvPr/>
        </p:nvSpPr>
        <p:spPr>
          <a:xfrm>
            <a:off x="2253653" y="1235398"/>
            <a:ext cx="8381925" cy="27699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dirty="0"/>
              <a:t>Предметные результаты описаны в разрезе каждого предмета на базовом уровне</a:t>
            </a:r>
          </a:p>
        </p:txBody>
      </p:sp>
      <p:pic>
        <p:nvPicPr>
          <p:cNvPr id="30" name="Picture 10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922363" y="1235398"/>
            <a:ext cx="592230" cy="404869"/>
          </a:xfrm>
          <a:prstGeom prst="rect">
            <a:avLst/>
          </a:prstGeom>
        </p:spPr>
      </p:pic>
      <p:sp>
        <p:nvSpPr>
          <p:cNvPr id="28" name="TextBox 2"/>
          <p:cNvSpPr txBox="1"/>
          <p:nvPr/>
        </p:nvSpPr>
        <p:spPr>
          <a:xfrm>
            <a:off x="475616" y="1832749"/>
            <a:ext cx="5969000" cy="3077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ru-RU" sz="2000" b="1" dirty="0" err="1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Метапредметные</a:t>
            </a: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 результаты:</a:t>
            </a:r>
          </a:p>
        </p:txBody>
      </p:sp>
      <p:sp>
        <p:nvSpPr>
          <p:cNvPr id="31" name="TextBox 6"/>
          <p:cNvSpPr txBox="1"/>
          <p:nvPr/>
        </p:nvSpPr>
        <p:spPr>
          <a:xfrm>
            <a:off x="77633" y="2307717"/>
            <a:ext cx="9780585" cy="4924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600" dirty="0" err="1"/>
              <a:t>Метапредметные</a:t>
            </a:r>
            <a:r>
              <a:rPr lang="ru-RU" sz="1600" dirty="0"/>
              <a:t> результаты как результат овладения УУД:</a:t>
            </a:r>
          </a:p>
          <a:p>
            <a:pPr algn="ctr"/>
            <a:r>
              <a:rPr lang="ru-RU" sz="1600" dirty="0"/>
              <a:t> </a:t>
            </a:r>
          </a:p>
        </p:txBody>
      </p:sp>
      <p:pic>
        <p:nvPicPr>
          <p:cNvPr id="32" name="Picture 3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980318" y="2400195"/>
            <a:ext cx="456581" cy="599331"/>
          </a:xfrm>
          <a:prstGeom prst="rect">
            <a:avLst/>
          </a:prstGeom>
        </p:spPr>
      </p:pic>
      <p:sp>
        <p:nvSpPr>
          <p:cNvPr id="33" name="TextBox 6"/>
          <p:cNvSpPr txBox="1"/>
          <p:nvPr/>
        </p:nvSpPr>
        <p:spPr>
          <a:xfrm>
            <a:off x="1514593" y="2905043"/>
            <a:ext cx="7344816" cy="24622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04815" indent="-304815">
              <a:buFont typeface="Courier New" panose="02070309020205020404" pitchFamily="49" charset="0"/>
              <a:buChar char="o"/>
            </a:pPr>
            <a:r>
              <a:rPr lang="ru-RU" sz="1600" dirty="0"/>
              <a:t>Познавательные действия - это овладение учебными знаково-символическими средствами, навыками работы с информацией, логическими операциями, общими приемами решения задач;</a:t>
            </a:r>
          </a:p>
          <a:p>
            <a:endParaRPr lang="ru-RU" sz="1600" dirty="0"/>
          </a:p>
          <a:p>
            <a:pPr marL="304815" indent="-304815">
              <a:buFont typeface="Courier New" panose="02070309020205020404" pitchFamily="49" charset="0"/>
              <a:buChar char="o"/>
            </a:pPr>
            <a:r>
              <a:rPr lang="ru-RU" sz="1600" dirty="0"/>
              <a:t>Коммуникативные действия –  умения организовывать сотрудничество, учитывать позицию собеседника, разные мнения и интересы, обосновывать позицию, задавать вопросы;</a:t>
            </a:r>
          </a:p>
          <a:p>
            <a:endParaRPr lang="ru-RU" sz="1600" dirty="0"/>
          </a:p>
          <a:p>
            <a:pPr marL="304815" indent="-304815">
              <a:buFont typeface="Courier New" panose="02070309020205020404" pitchFamily="49" charset="0"/>
              <a:buChar char="o"/>
            </a:pPr>
            <a:r>
              <a:rPr lang="ru-RU" sz="1600" dirty="0"/>
              <a:t>Регулятивные действия – способность принимать цели, планировать действия, реализовывать разные виды самоконтроля, ставить задачи</a:t>
            </a:r>
          </a:p>
        </p:txBody>
      </p:sp>
    </p:spTree>
    <p:extLst>
      <p:ext uri="{BB962C8B-B14F-4D97-AF65-F5344CB8AC3E}">
        <p14:creationId xmlns:p14="http://schemas.microsoft.com/office/powerpoint/2010/main" val="3548636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852251" y="90019"/>
            <a:ext cx="9731725" cy="64112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екомендации  по компенсации отсутствующих  элементов  содержания 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учебника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6" name="Группа 4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7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1" name="Прямая соединительная линия 21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Объект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96890890"/>
              </p:ext>
            </p:extLst>
          </p:nvPr>
        </p:nvGraphicFramePr>
        <p:xfrm>
          <a:off x="1872842" y="744215"/>
          <a:ext cx="9458723" cy="3566160"/>
        </p:xfrm>
        <a:graphic>
          <a:graphicData uri="http://schemas.openxmlformats.org/drawingml/2006/table">
            <a:tbl>
              <a:tblPr firstRow="1" bandRow="1"/>
              <a:tblGrid>
                <a:gridCol w="4473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855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353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Отсутствующие элементы содержания</a:t>
                      </a:r>
                      <a:endParaRPr sz="1200" dirty="0"/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/>
                        <a:t>Рекомендации по компенсации</a:t>
                      </a:r>
                      <a:endParaRPr sz="1200"/>
                    </a:p>
                    <a:p>
                      <a:pPr algn="ctr">
                        <a:defRPr/>
                      </a:pPr>
                      <a:r>
                        <a:rPr lang="ru-RU" sz="1200"/>
                        <a:t>(при отсутствии элементов содержания)</a:t>
                      </a:r>
                      <a:endParaRPr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Природа и предметы, созданные человеком. Природные материалы. Бережное отношение к  предметам, вещам, уход за ними</a:t>
                      </a:r>
                      <a:endParaRPr lang="ru-RU" sz="12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b="1" dirty="0" smtClean="0"/>
                        <a:t>Использовать</a:t>
                      </a:r>
                      <a:r>
                        <a:rPr lang="ru-RU" sz="1200" b="1" baseline="0" dirty="0" smtClean="0"/>
                        <a:t>  содержание учебника 2 класса «Окружающий мир» Плешаков А.А. раздел «Где мы живем» темы «Природа и предметы, созданные человеком», «Наше отношение к миру»</a:t>
                      </a:r>
                    </a:p>
                    <a:p>
                      <a:pPr>
                        <a:defRPr/>
                      </a:pP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Неживая и живая природа. Погода и термометр. Наблюдение за погодой своего края. Сезонные изменения в природе. Взаимосвязи между человеком и  природой</a:t>
                      </a:r>
                      <a:endParaRPr lang="ru-RU" sz="12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Использовать</a:t>
                      </a:r>
                      <a:r>
                        <a:rPr lang="ru-RU" sz="1200" b="1" baseline="0" dirty="0" smtClean="0"/>
                        <a:t> пособие «Опыты и эксперименты» 1-2 класс </a:t>
                      </a:r>
                      <a:r>
                        <a:rPr lang="ru-RU" sz="1200" b="1" baseline="0" dirty="0" err="1" smtClean="0"/>
                        <a:t>Дорохина</a:t>
                      </a:r>
                      <a:r>
                        <a:rPr lang="ru-RU" sz="1200" b="1" baseline="0" dirty="0" smtClean="0"/>
                        <a:t> Н.Н., Паршина О.А.  (темы «Живая и неживая природа», «Температура и термометр», «Осадки. Явления природы»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baseline="0" dirty="0" smtClean="0"/>
                        <a:t>использовать материал учебника </a:t>
                      </a:r>
                      <a:r>
                        <a:rPr lang="ru-RU" sz="1200" b="1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«Естествознание. Азбука экологии» 1 класс Шпотова Т.В. (тема «Книга природы»)</a:t>
                      </a:r>
                      <a:endParaRPr lang="ru-RU" sz="1200" b="1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Рабочее место школьника. Правила безопасной работы на  учебном месте, режим труда и  отдыха. Ценность и красота рукотворного мира. 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ключить материал о рабочем месте школьника и правилах безопасной работы на учебном месте  в тему «Когда учиться интересно?». 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7038092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Безопасность в сети Интернет (электронный дневник и электронные ресурсы школы) в  условиях контролируемого доступа в  Интернет»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овать материалы пособия «Информационная безопасность, или Как вести себя в Сети» Сиденко А.Г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1868244"/>
                  </a:ext>
                </a:extLst>
              </a:tr>
            </a:tbl>
          </a:graphicData>
        </a:graphic>
      </p:graphicFrame>
      <p:pic>
        <p:nvPicPr>
          <p:cNvPr id="23" name="Picture 5" descr="C:\Users\AZueva\Desktop\НОВЫЕ обложки\ШР\1 кл\OM ShRos 1_1 Cover__N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959" y="1026847"/>
            <a:ext cx="1138460" cy="14220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Изображение Опыты и эксперименты в начальной школе. 1-2 классы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0611" y="4165556"/>
            <a:ext cx="1817815" cy="2432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Изображение Естествознание. Азбука экологии. 1 класс. Учебник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5260" y="4165555"/>
            <a:ext cx="1835164" cy="2449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Изображение Информационная безопасность, или Как вести себя в Сети.  2 - 4 классы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182" y="4173259"/>
            <a:ext cx="1851595" cy="2442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800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2"/>
            <a:ext cx="12192000" cy="97559"/>
          </a:xfrm>
          <a:prstGeom prst="rect">
            <a:avLst/>
          </a:prstGeom>
        </p:spPr>
      </p:pic>
      <p:grpSp>
        <p:nvGrpSpPr>
          <p:cNvPr id="31" name="Группа 3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1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© ГК «Просвещение», 2022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hape 455"/>
          <p:cNvSpPr txBox="1">
            <a:spLocks/>
          </p:cNvSpPr>
          <p:nvPr/>
        </p:nvSpPr>
        <p:spPr bwMode="auto">
          <a:xfrm>
            <a:off x="1870623" y="270062"/>
            <a:ext cx="10658120" cy="400110"/>
          </a:xfrm>
          <a:prstGeom prst="rect">
            <a:avLst/>
          </a:prstGeom>
          <a:ex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 b="1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defRPr>
            </a:lvl1pPr>
          </a:lstStyle>
          <a:p>
            <a:r>
              <a:rPr lang="ru-RU" altLang="ru-RU" dirty="0">
                <a:sym typeface="Helvetica Neue Black Condensed"/>
              </a:rPr>
              <a:t>СИСТЕМА «ПЕРСПЕКТИВА»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915342" y="2267663"/>
            <a:ext cx="4628833" cy="3308388"/>
          </a:xfrm>
          <a:prstGeom prst="rect">
            <a:avLst/>
          </a:prstGeom>
          <a:noFill/>
          <a:ln w="317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232" tIns="45616" rIns="91232" bIns="45616">
            <a:spAutoFit/>
          </a:bodyPr>
          <a:lstStyle/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оммуникативно-познавательная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снова </a:t>
            </a:r>
          </a:p>
          <a:p>
            <a:pPr defTabSz="914377"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endParaRPr lang="ru-RU" sz="14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Сочетани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традиционного классического образования с инновационными подходами</a:t>
            </a: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е творческого потенциала школьников, навыков успешной социализации через систему продуктивных, практико-ориентированных заданий  </a:t>
            </a: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defTabSz="914377"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defTabSz="1020599">
              <a:spcBef>
                <a:spcPct val="0"/>
              </a:spcBef>
              <a:defRPr/>
            </a:pPr>
            <a:endParaRPr lang="ru-RU" sz="14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5961523" y="1169523"/>
            <a:ext cx="41213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«Я ОБЩАЮСЬ, ЗНАЧИТ, Я УЧУСЬ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» </a:t>
            </a: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– ОБУЧЕНИЕ ЧЕРЕЗ ОБЩЕНИЕ</a:t>
            </a:r>
          </a:p>
        </p:txBody>
      </p:sp>
      <p:pic>
        <p:nvPicPr>
          <p:cNvPr id="62" name="Picture 2" descr="Изображение Русский язык. 4 класс. В 2-х ч. Ч. 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700" y="960111"/>
            <a:ext cx="1099306" cy="14604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Изображение Литературное чтение. 4 класс. В 2-х ч. Ч. 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313" y="2879566"/>
            <a:ext cx="1118007" cy="13846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" descr="Изображение Математика. 4 класс. В 2-х ч. Ч. 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701" y="2879566"/>
            <a:ext cx="1111255" cy="13846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12" descr="Изображение Технология. 4 класс *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1446" y="4766403"/>
            <a:ext cx="1035854" cy="13846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178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21" y="960111"/>
            <a:ext cx="1098244" cy="14590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8179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5863" y="960112"/>
            <a:ext cx="1095323" cy="14604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8180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306" y="2887440"/>
            <a:ext cx="1095029" cy="13688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8181" name="Picture 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207" y="2894152"/>
            <a:ext cx="1119951" cy="13700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8182" name="Picture 6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306" y="4766402"/>
            <a:ext cx="1088298" cy="13846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8183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314" y="4766402"/>
            <a:ext cx="1118006" cy="13846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8184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3208" y="4766403"/>
            <a:ext cx="1119950" cy="13846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441572" y="2545263"/>
            <a:ext cx="170596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1.1.1.1.1.4.1 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945862" y="2529325"/>
            <a:ext cx="23100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1.1.4.2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–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1.1.4.5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913208" y="4379896"/>
            <a:ext cx="23100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1.1.1.3.1.5.1 –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3.1.5.4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421306" y="4388450"/>
            <a:ext cx="23100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1.1.1.1.2.1.1 </a:t>
            </a:r>
            <a:r>
              <a:rPr lang="ru-RU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– </a:t>
            </a:r>
            <a:r>
              <a:rPr lang="ru-RU" sz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1.2.1.4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421306" y="6222304"/>
            <a:ext cx="23100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1.1.1.4.1.4.1 –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4.1.4.4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913208" y="6217589"/>
            <a:ext cx="231009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: 1.1.1.7.1.8.1 –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7.1.8.4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1711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0"/>
            <a:ext cx="9000000" cy="719233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1622668"/>
              </p:ext>
            </p:extLst>
          </p:nvPr>
        </p:nvGraphicFramePr>
        <p:xfrm>
          <a:off x="1504083" y="717524"/>
          <a:ext cx="10557324" cy="5731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6307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743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522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9083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держание учебника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мерная рабочая программа  по предмету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ментарий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040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вайте знакомиться. </a:t>
                      </a:r>
                      <a:r>
                        <a:rPr lang="ru-RU" sz="1100" dirty="0" smtClean="0"/>
                        <a:t>Мир общения. Слово в общении. Жесты — помощники в общении. Общение без слов. Как понять животных? Могут ли разговаривать предметы? Слова и предметы. Рисунки и предметы в общении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dirty="0" smtClean="0"/>
                        <a:t>Развитие речи.  </a:t>
                      </a:r>
                      <a:endParaRPr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  <a:endParaRPr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69924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Звучание слова и его значение. Слово и предложение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dirty="0" smtClean="0"/>
                        <a:t>Слово и предложение. Различение слова и предложения. Работа с предложением: выделение слов, изменение их порядка. Восприятие слова как объекта изучения, материала для анализа. Наблюдение над значением слова.</a:t>
                      </a:r>
                      <a:endParaRPr sz="11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  <a:p>
                      <a:pPr>
                        <a:defRPr/>
                      </a:pPr>
                      <a:endParaRPr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604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ир полон звуков. Гласные и согласные звуки. Твёрдые и мягкие согласные.</a:t>
                      </a:r>
                      <a:r>
                        <a:rPr lang="ru-RU" sz="1100" dirty="0" smtClean="0"/>
                        <a:t> Слова и слоги. Ударение в слове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dirty="0" smtClean="0"/>
                        <a:t>Фонетика. Звуки речи. </a:t>
                      </a:r>
                      <a:endParaRPr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«Страна АБВГДЕЙКА». Старинные азбуки и буквари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dirty="0" smtClean="0"/>
                        <a:t>Графика. Различение звука и буквы: буква как знак звука. Слоговой принцип русской графики. Буквы гласных как показатель твёрдости — мягкости согласных звуков. Функции букв е, ё, ю, я. Мягкий знак как показатель мягкости предшествующего согласного звука в конце слова. Последовательность букв в русском алфавите.</a:t>
                      </a:r>
                      <a:endParaRPr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  <a:p>
                      <a:pPr>
                        <a:defRPr/>
                      </a:pPr>
                      <a:endParaRPr lang="ru-RU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endParaRPr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«СТРАНА </a:t>
                      </a:r>
                      <a:r>
                        <a:rPr lang="ru-RU" sz="1100" dirty="0" err="1" smtClean="0"/>
                        <a:t>АБВГДЕЙКА».Про</a:t>
                      </a:r>
                      <a:r>
                        <a:rPr lang="ru-RU" sz="1100" dirty="0" smtClean="0"/>
                        <a:t> всё на свете. Старинные азбуки и буквари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ение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0309613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се разделы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исьмо. Письмо букв, буквосочетаний, слогов, слов, предложений с соблюдением гигиенических норм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0007090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СТРАНА АБВГДЕЙКА. Про всё на свете.</a:t>
                      </a:r>
                      <a:endParaRPr lang="ru-RU" sz="11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. Правила правописания и их применение: раздельное написание слов; обозначение гласных после шипящих в сочетаниях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жи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ши (в положении под ударением)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а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ща, чу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щу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 прописная буква в начале предложения, в именах собственных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070106907"/>
                  </a:ext>
                </a:extLst>
              </a:tr>
            </a:tbl>
          </a:graphicData>
        </a:graphic>
      </p:graphicFrame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93" y="843733"/>
            <a:ext cx="1098244" cy="14590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60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0"/>
            <a:ext cx="9000000" cy="719233"/>
          </a:xfrm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87048556"/>
              </p:ext>
            </p:extLst>
          </p:nvPr>
        </p:nvGraphicFramePr>
        <p:xfrm>
          <a:off x="2635135" y="639762"/>
          <a:ext cx="9293515" cy="57855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391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87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71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001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/>
                        <a:t>Содержание учебника </a:t>
                      </a:r>
                      <a:endParaRPr sz="11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/>
                        <a:t>Примерная рабочая программа  по предмету</a:t>
                      </a:r>
                      <a:endParaRPr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/>
                        <a:t>Комментарий</a:t>
                      </a:r>
                      <a:endParaRPr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1141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ультура общения. Слово и его значение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щие сведения о языке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  <a:endParaRPr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992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вуки гласные и согласные. Обозначение их буквами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логи. Ударение. Ударные и безударные гласные звуки. Обозначение их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уквами.Твёрдые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мягкие согласные звуки. Обозначение мягкости согласных звуков на письме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нетика. Звуки речи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141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лова с несколькими значениями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руппы слов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ексика. Слово как единица языка (ознакомление)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5736947"/>
                  </a:ext>
                </a:extLst>
              </a:tr>
              <a:tr h="930645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 слова к предложению. Знаки препинания в конце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едложения от предложения к тексту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интаксис. Предложение как единица языка (ознакомление). Слово, предложение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4559299"/>
                  </a:ext>
                </a:extLst>
              </a:tr>
              <a:tr h="930645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мя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бственное.Правописание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буквосочетаний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жи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ши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а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—ща, чу—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щу</a:t>
                      </a:r>
                      <a:endParaRPr lang="ru-RU" sz="1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ренос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лов.Звонкие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глухие согласные звуки. Обозначение их буквами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521449"/>
                  </a:ext>
                </a:extLst>
              </a:tr>
              <a:tr h="930645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ультура общения. Слово и его значение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 предложения к тексту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 речи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8920677"/>
                  </a:ext>
                </a:extLst>
              </a:tr>
            </a:tbl>
          </a:graphicData>
        </a:graphic>
      </p:graphicFrame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350" y="951799"/>
            <a:ext cx="1711330" cy="2281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4834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0"/>
            <a:ext cx="9000000" cy="71923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71176232"/>
              </p:ext>
            </p:extLst>
          </p:nvPr>
        </p:nvGraphicFramePr>
        <p:xfrm>
          <a:off x="1603725" y="963460"/>
          <a:ext cx="9914218" cy="43328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047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694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399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527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Содержание учебника </a:t>
                      </a:r>
                      <a:endParaRPr sz="12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/>
                        <a:t>Примерная рабочая программа  по предмету</a:t>
                      </a:r>
                      <a:endParaRPr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/>
                        <a:t>Комментарий</a:t>
                      </a:r>
                      <a:endParaRPr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032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дравствуй, сказка!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казка народная (фольклорная) и литературная (авторская)</a:t>
                      </a:r>
                      <a:endParaRPr lang="ru-RU" sz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Хорошие соседи, счастливые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друзья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роизведения о детях и для детей </a:t>
                      </a:r>
                      <a:endParaRPr lang="ru-RU" sz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cs typeface="Arial"/>
                        </a:rPr>
                        <a:t>Полностью соответствует элементам содержания ПРП</a:t>
                      </a:r>
                      <a:endParaRPr kumimoji="0" lang="ru-RU" sz="12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рай родной, навек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любимый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едения о родной природе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cs typeface="Arial"/>
                        </a:rPr>
                        <a:t>Полностью соответствует элементам содержания ПРП</a:t>
                      </a:r>
                      <a:endParaRPr kumimoji="0" lang="ru-RU" sz="12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дуга-дуга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/>
                        <a:t>Устное народное творчество — малые фольклорные жанры 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cs typeface="Arial"/>
                        </a:rPr>
                        <a:t>Полностью соответствует элементам содержания ПРП</a:t>
                      </a:r>
                      <a:endParaRPr kumimoji="0" lang="ru-RU" sz="12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юблю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се живое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/>
                        <a:t>Произведения о братьях наших меньших 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рай родной, навек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любимый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/>
                        <a:t>Произведения о маме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50906338"/>
                  </a:ext>
                </a:extLst>
              </a:tr>
              <a:tr h="333818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 фантазий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льклорные и авторские произведения о чудесах и фантаз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05162655"/>
                  </a:ext>
                </a:extLst>
              </a:tr>
              <a:tr h="333818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ниги –мои друзья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иблиографическая культура (работа с детской книгой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0927152"/>
                  </a:ext>
                </a:extLst>
              </a:tr>
            </a:tbl>
          </a:graphicData>
        </a:graphic>
      </p:graphicFrame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20" y="699634"/>
            <a:ext cx="976538" cy="12207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964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0"/>
            <a:ext cx="9000000" cy="71923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58665038"/>
              </p:ext>
            </p:extLst>
          </p:nvPr>
        </p:nvGraphicFramePr>
        <p:xfrm>
          <a:off x="2042543" y="839585"/>
          <a:ext cx="9337853" cy="38907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1770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6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546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114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Содержание учебника </a:t>
                      </a:r>
                      <a:endParaRPr sz="12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/>
                        <a:t>Примерная рабочая программа  по предмету</a:t>
                      </a:r>
                      <a:endParaRPr sz="12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Комментарий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7598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равнение и счёт предметов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ru-RU" sz="1200" dirty="0" smtClean="0"/>
                        <a:t>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исла от 1 до 10. Число 0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исла от 11 до 20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Числа и величины. 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75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Числа от 1 до 10. Число 0</a:t>
                      </a:r>
                      <a:r>
                        <a:rPr kumimoji="0" lang="en-US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. </a:t>
                      </a:r>
                      <a:r>
                        <a:rPr kumimoji="0" lang="ru-RU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Числа от 11 до 20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Арифметические действия. 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  <a:endParaRPr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02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Числа от 1 до 10. Число 0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Числа от 11 до 20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Текстовые задачи. 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  <a:endParaRPr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7598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равнение и счёт предметов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ножества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dirty="0" smtClean="0"/>
                        <a:t>Числа от 1 до 10. Число 0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остранственные отношения и геометрические фигуры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76229458"/>
                  </a:ext>
                </a:extLst>
              </a:tr>
              <a:tr h="9705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ножества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исла от 1 до 10. Число 0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исла от 11 до 20</a:t>
                      </a:r>
                    </a:p>
                    <a:p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Математическая информация. Сбор данных об объекте по образцу. Характеристики объекта, группы объектов (количество, форма, размер). 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Полностью соответствует элементам содержания ПРП</a:t>
                      </a:r>
                    </a:p>
                    <a:p>
                      <a:pPr>
                        <a:defRPr/>
                      </a:pPr>
                      <a:endParaRPr lang="ru-RU" sz="1200" b="1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1890875"/>
                  </a:ext>
                </a:extLst>
              </a:tr>
            </a:tbl>
          </a:graphicData>
        </a:graphic>
      </p:graphicFrame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13" y="953078"/>
            <a:ext cx="1289870" cy="15778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9121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1" y="0"/>
            <a:ext cx="9914127" cy="71923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азделам </a:t>
            </a: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81712944"/>
              </p:ext>
            </p:extLst>
          </p:nvPr>
        </p:nvGraphicFramePr>
        <p:xfrm>
          <a:off x="1753354" y="601299"/>
          <a:ext cx="10200236" cy="5849681"/>
        </p:xfrm>
        <a:graphic>
          <a:graphicData uri="http://schemas.openxmlformats.org/drawingml/2006/table">
            <a:tbl>
              <a:tblPr firstRow="1" bandRow="1"/>
              <a:tblGrid>
                <a:gridCol w="35426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986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589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051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/>
                        <a:t>Содержание учебника </a:t>
                      </a:r>
                      <a:endParaRPr sz="110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/>
                        <a:t>Примерная рабочая программа  по предмету</a:t>
                      </a:r>
                      <a:endParaRPr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/>
                        <a:t>Комментарий</a:t>
                      </a:r>
                      <a:endParaRPr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7592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ультура. Природа в творчестве человека. Мы — люди. Люди — творцы культуры. </a:t>
                      </a:r>
                      <a:r>
                        <a:rPr lang="ru-RU" sz="1100" dirty="0" smtClean="0"/>
                        <a:t>Наш класс в школе. Мы — дружный класс. Делу — время. Книга — друг и наставник. Потехе — час . Мы в семье. Моя семья — часть моего народа. Красота любимого города. Мы в городе. Красота родного села. Мы в селе. Войдём в музей! Мы помним наших земляков. Все профессии важны. Россия — наша Родина. Москва — столица России. Мы — семья народов России. Взгляни на человека! Всему свой черёд. У каждого времени свой плод. Я — часть мира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и общество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Рабочее место школьника. Правила безопасной работы на  учебном месте, режим труда и  отдыха"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59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рода. Неживая и живая природа. </a:t>
                      </a:r>
                      <a:r>
                        <a:rPr lang="ru-RU" sz="1100" dirty="0" smtClean="0"/>
                        <a:t>Природа в классе. Как ухаживать за комнатными растениями. Что растёт у школы. Мир за стеклянным берегом. Кто ещё у нас живёт? Какие бывают животные. Природа в доме. Красивые камни в нашем доме. Комнатные растения у нас дома. Выйдем в сад и огород. Дикорастущие и культурные растения. Собака в нашем доме. Кошка в нашем доме. Дикие и домашние животные. Природа в городе и селе. Что растёт в городе и селе. Чудесные цветники. В ботаническом саду. В зоопарке. Охрана природы. Красная книга России. Заповедные тропинки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и природ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«Погода и термометр. Наблюдение за погодой своего края. Сезонные изменения в природе. </a:t>
                      </a:r>
                      <a:r>
                        <a:rPr lang="ru-RU" sz="1100" b="1" dirty="0" smtClean="0"/>
                        <a:t>Части растения (называние, краткая характеристика значения для жизни растения): корень, стебель, лист, цветок, плод, семя.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7586984"/>
                  </a:ext>
                </a:extLst>
              </a:tr>
              <a:tr h="157820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о такое окружающий мир.</a:t>
                      </a:r>
                      <a:r>
                        <a:rPr lang="ru-RU" sz="1100" dirty="0" smtClean="0"/>
                        <a:t> Откуда в наш дом приходят вода, газ, электричество. Овощи и фрукты на нашем столе. Про хлеб и кашу, про чай и кофе. С утра до вечера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авила безопасной жизни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Безопасность в сети Интернет (электронный дневник и электронные ресурсы школы) в  условиях контролируемого доступа в  Интернет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6278803"/>
                  </a:ext>
                </a:extLst>
              </a:tr>
            </a:tbl>
          </a:graphicData>
        </a:graphic>
      </p:graphicFrame>
      <p:pic>
        <p:nvPicPr>
          <p:cNvPr id="25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890" y="934907"/>
            <a:ext cx="1088298" cy="13846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237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872842" y="194744"/>
            <a:ext cx="9000000" cy="64112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екомендации по компенсации отсутствующих элементов содержания учебника «Окружающий мир» Плешакова А.А., Новицкая М.Ю.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6" name="Группа 4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7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1" name="Прямая соединительная линия 21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Объект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3539276"/>
              </p:ext>
            </p:extLst>
          </p:nvPr>
        </p:nvGraphicFramePr>
        <p:xfrm>
          <a:off x="2219497" y="1026847"/>
          <a:ext cx="9458723" cy="2926080"/>
        </p:xfrm>
        <a:graphic>
          <a:graphicData uri="http://schemas.openxmlformats.org/drawingml/2006/table">
            <a:tbl>
              <a:tblPr firstRow="1" bandRow="1"/>
              <a:tblGrid>
                <a:gridCol w="4473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855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353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Отсутствующие элементы содержания</a:t>
                      </a:r>
                      <a:endParaRPr sz="1200" dirty="0"/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/>
                        <a:t>Рекомендации по компенсации</a:t>
                      </a:r>
                      <a:endParaRPr sz="1200"/>
                    </a:p>
                    <a:p>
                      <a:pPr algn="ctr">
                        <a:defRPr/>
                      </a:pPr>
                      <a:r>
                        <a:rPr lang="ru-RU" sz="1200"/>
                        <a:t>(при отсутствии элементов содержания)</a:t>
                      </a:r>
                      <a:endParaRPr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года и термометр. Наблюдение за погодой своего края. Сезонные изменения в природе. Части растения (называние, краткая характеристика значения для жизни растения): корень, стебель, лист, цветок, плод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  <a:r>
                        <a:rPr lang="ru-RU" sz="1200" dirty="0" smtClean="0"/>
                        <a:t> , семя.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endParaRPr lang="ru-RU" sz="12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Использовать</a:t>
                      </a:r>
                      <a:r>
                        <a:rPr lang="ru-RU" sz="1200" b="1" baseline="0" dirty="0" smtClean="0"/>
                        <a:t> пособие «Опыты и эксперименты» 1-2 класс </a:t>
                      </a:r>
                      <a:r>
                        <a:rPr lang="ru-RU" sz="1200" b="1" baseline="0" dirty="0" err="1" smtClean="0"/>
                        <a:t>Дорохина</a:t>
                      </a:r>
                      <a:r>
                        <a:rPr lang="ru-RU" sz="1200" b="1" baseline="0" dirty="0" smtClean="0"/>
                        <a:t> Н.Н., Паршина О.А.  (темы «Живая и неживая природа», «Температура и термометр», «Осадки. Явления природы»</a:t>
                      </a:r>
                      <a:r>
                        <a:rPr lang="ru-RU" sz="1200" b="1" dirty="0" smtClean="0"/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baseline="0" dirty="0" smtClean="0"/>
                        <a:t>использовать материал учебника </a:t>
                      </a:r>
                      <a:r>
                        <a:rPr lang="ru-RU" sz="1200" b="1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«Естествознание. Азбука экологии» 1 класс Шпотова Т.В. (тема «В некотором царстве. Растения»)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baseline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Рабочее место школьника. Правила безопасной работы на  учебном месте, режим труда и  отдыха.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ключить материал о рабочем месте школьника и правилах безопасной работы на учебном месте</a:t>
                      </a: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тему «Наш класс в школе»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7038092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Безопасность в сети Интернет (электронный дневник и электронные ресурсы школы) в  условиях контролируемого доступа в  Интернет»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овать материалы пособия «Информационная безопасность, или Как вести себя в Сети» Сиденко А.Г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1868244"/>
                  </a:ext>
                </a:extLst>
              </a:tr>
            </a:tbl>
          </a:graphicData>
        </a:graphic>
      </p:graphicFrame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355" y="1066548"/>
            <a:ext cx="1088298" cy="13846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8178" name="Picture 2" descr="Изображение Опыты и эксперименты в начальной школе. 1-2 классы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842" y="4067869"/>
            <a:ext cx="1817815" cy="2432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180" name="Picture 4" descr="Изображение Естествознание. Азбука экологии. 1 класс. Учебник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7491" y="4067868"/>
            <a:ext cx="1835164" cy="2449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182" name="Picture 6" descr="Изображение Информационная безопасность, или Как вести себя в Сети.  2 - 4 классы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9489" y="4075572"/>
            <a:ext cx="1851595" cy="2442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887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Picture 23" descr="U:\DF_Hudred\_ВЕНТАНА\38327\cover\cover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5431" y="2293142"/>
            <a:ext cx="836980" cy="10403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2"/>
            <a:ext cx="12192000" cy="97559"/>
          </a:xfrm>
          <a:prstGeom prst="rect">
            <a:avLst/>
          </a:prstGeom>
        </p:spPr>
      </p:pic>
      <p:grpSp>
        <p:nvGrpSpPr>
          <p:cNvPr id="31" name="Группа 3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2041321" y="242318"/>
            <a:ext cx="92170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ИСТЕМА «НАЧАЛЬНАЯ ШКОЛА ХХ</a:t>
            </a:r>
            <a:r>
              <a:rPr lang="en-US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I </a:t>
            </a: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ВЕКА»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258562" y="4921738"/>
            <a:ext cx="41166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ctr">
              <a:spcBef>
                <a:spcPct val="0"/>
              </a:spcBef>
              <a:spcAft>
                <a:spcPct val="0"/>
              </a:spcAft>
              <a:tabLst>
                <a:tab pos="85725" algn="l"/>
              </a:tabLst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Единственный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омплект, который был отмечен премией Президента РФ в области образования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.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943567" y="1644699"/>
            <a:ext cx="5649719" cy="2952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endParaRPr lang="ru-RU" sz="14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е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личности школьника, формирование учебной деятельности в соответствии с индивидуальными возможностями и особенностями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аждого</a:t>
            </a: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е не только предметных,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но и </a:t>
            </a:r>
            <a:r>
              <a:rPr lang="ru-RU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етапредметных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 умений, гибкого мышления, продуктивной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еятельности</a:t>
            </a:r>
            <a:endParaRPr lang="ru-RU" sz="14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defTabSz="914377"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риоритет проблемно-исследовательской деятельности, основанной на инициативе и самостоятельности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школьников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295470" y="5451839"/>
            <a:ext cx="2402187" cy="1339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98276" y="879138"/>
            <a:ext cx="815327" cy="10730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069600" y="877587"/>
            <a:ext cx="819821" cy="10596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61751" y="891897"/>
            <a:ext cx="814443" cy="10453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9" name="Picture 2" descr="D:\Downloads\cover1__w600 (4)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15406" y="3675327"/>
            <a:ext cx="830137" cy="10707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" name="Picture 9" descr="D:\Downloads\cover1__w600 (11)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37017" y="3675932"/>
            <a:ext cx="845394" cy="10701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1" name="Picture 5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068166" y="3675327"/>
            <a:ext cx="858625" cy="10996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2" name="Picture 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244066" y="3675327"/>
            <a:ext cx="867958" cy="10996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3" name="Picture 2" descr="D:\Downloads\cover1__w600 (12)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34881" y="5095257"/>
            <a:ext cx="814236" cy="10529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4" name="Picture 8" descr="D:\Downloads\cover1__w600 (18)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545431" y="5117052"/>
            <a:ext cx="819945" cy="10529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Рисунок 54" descr="D:\Downloads\cover1__w600 (1).jpg"/>
          <p:cNvPicPr/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069929" y="5096225"/>
            <a:ext cx="867958" cy="10519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6" name="Рисунок 55" descr="D:\Downloads\cover1__w600.jpg"/>
          <p:cNvPicPr/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257445" y="5106638"/>
            <a:ext cx="862900" cy="10311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7" name="Прямоугольник 56"/>
          <p:cNvSpPr/>
          <p:nvPr/>
        </p:nvSpPr>
        <p:spPr>
          <a:xfrm>
            <a:off x="5888046" y="1168257"/>
            <a:ext cx="59973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УСПЕХУ МОЖНО НАУЧИТЬ</a:t>
            </a:r>
            <a:endParaRPr lang="ru-RU"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pic>
        <p:nvPicPr>
          <p:cNvPr id="178178" name="Picture 2" descr="Изображение Литературное чтение. 1 класс. Учебник. В 2 ч. Часть 1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165" y="2310509"/>
            <a:ext cx="858625" cy="10417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8"/>
          <a:srcRect l="24391" t="20625" r="45450" b="12158"/>
          <a:stretch/>
        </p:blipFill>
        <p:spPr>
          <a:xfrm>
            <a:off x="4232418" y="2304370"/>
            <a:ext cx="879606" cy="1047900"/>
          </a:xfrm>
          <a:prstGeom prst="rect">
            <a:avLst/>
          </a:prstGeom>
          <a:effectLst>
            <a:glow rad="101600">
              <a:schemeClr val="accent3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415406" y="2027267"/>
            <a:ext cx="170596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: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1.1.1.1.1.2.1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 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2" name="AutoShape 2" descr="https://assets.website-files.com/59c2702b7333f20001b0ef40/5a1c9b2c07d9180001e33050_trophy%20(1)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5" descr="https://assets.website-files.com/59c2702b7333f20001b0ef40/5a1c9b2c07d9180001e33050_trophy%20(1).sv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7" descr="https://assets.website-files.com/59c2702b7333f20001b0ef40/5a1c9b2c07d9180001e33050_trophy%20(1).sv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084577" y="2011132"/>
            <a:ext cx="22956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: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1.1.2.2 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– 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1.1.2.5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 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084577" y="3422630"/>
            <a:ext cx="22956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: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1.1.1.1.2.7.1 – 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1.2.7.4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400229" y="3422630"/>
            <a:ext cx="24001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: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1.1.1.1.2.13.1 – 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1.2.13.4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415406" y="4829405"/>
            <a:ext cx="24001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: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1.1.1.3.1.11.1 – 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3.1.11.4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084577" y="4827883"/>
            <a:ext cx="24001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: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1.1.1.3.1.6.1 – 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3.1.6.4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434881" y="6253912"/>
            <a:ext cx="24001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: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1.1.1.4.1.1.1 – 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4.1.1.4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084577" y="6253912"/>
            <a:ext cx="24001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54"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№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ФПУ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:</a:t>
            </a: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1.1.1.7.1.3.1 – 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1.1.1.7.1.3.4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pic>
        <p:nvPicPr>
          <p:cNvPr id="66" name="Рисунок 6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7572" y="2244047"/>
            <a:ext cx="772886" cy="217796"/>
          </a:xfrm>
          <a:prstGeom prst="rect">
            <a:avLst/>
          </a:prstGeom>
        </p:spPr>
      </p:pic>
      <p:pic>
        <p:nvPicPr>
          <p:cNvPr id="69" name="Picture 22" descr="U:\DF_Hudred\_ВЕНТАНА\38542\cover\cover1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76" y="2303609"/>
            <a:ext cx="774616" cy="10380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Freeform 25"/>
          <p:cNvSpPr>
            <a:spLocks noEditPoints="1"/>
          </p:cNvSpPr>
          <p:nvPr/>
        </p:nvSpPr>
        <p:spPr bwMode="auto">
          <a:xfrm>
            <a:off x="5857172" y="5008045"/>
            <a:ext cx="356494" cy="350605"/>
          </a:xfrm>
          <a:custGeom>
            <a:avLst/>
            <a:gdLst/>
            <a:ahLst/>
            <a:cxnLst>
              <a:cxn ang="0">
                <a:pos x="814" y="1069"/>
              </a:cxn>
              <a:cxn ang="0">
                <a:pos x="834" y="1085"/>
              </a:cxn>
              <a:cxn ang="0">
                <a:pos x="830" y="1105"/>
              </a:cxn>
              <a:cxn ang="0">
                <a:pos x="804" y="1115"/>
              </a:cxn>
              <a:cxn ang="0">
                <a:pos x="203" y="1111"/>
              </a:cxn>
              <a:cxn ang="0">
                <a:pos x="189" y="1091"/>
              </a:cxn>
              <a:cxn ang="0">
                <a:pos x="203" y="1073"/>
              </a:cxn>
              <a:cxn ang="0">
                <a:pos x="450" y="682"/>
              </a:cxn>
              <a:cxn ang="0">
                <a:pos x="601" y="686"/>
              </a:cxn>
              <a:cxn ang="0">
                <a:pos x="613" y="704"/>
              </a:cxn>
              <a:cxn ang="0">
                <a:pos x="601" y="721"/>
              </a:cxn>
              <a:cxn ang="0">
                <a:pos x="583" y="725"/>
              </a:cxn>
              <a:cxn ang="0">
                <a:pos x="637" y="882"/>
              </a:cxn>
              <a:cxn ang="0">
                <a:pos x="764" y="1012"/>
              </a:cxn>
              <a:cxn ang="0">
                <a:pos x="267" y="1012"/>
              </a:cxn>
              <a:cxn ang="0">
                <a:pos x="394" y="882"/>
              </a:cxn>
              <a:cxn ang="0">
                <a:pos x="450" y="725"/>
              </a:cxn>
              <a:cxn ang="0">
                <a:pos x="426" y="715"/>
              </a:cxn>
              <a:cxn ang="0">
                <a:pos x="422" y="698"/>
              </a:cxn>
              <a:cxn ang="0">
                <a:pos x="440" y="684"/>
              </a:cxn>
              <a:cxn ang="0">
                <a:pos x="259" y="171"/>
              </a:cxn>
              <a:cxn ang="0">
                <a:pos x="74" y="117"/>
              </a:cxn>
              <a:cxn ang="0">
                <a:pos x="143" y="284"/>
              </a:cxn>
              <a:cxn ang="0">
                <a:pos x="249" y="393"/>
              </a:cxn>
              <a:cxn ang="0">
                <a:pos x="287" y="189"/>
              </a:cxn>
              <a:cxn ang="0">
                <a:pos x="738" y="105"/>
              </a:cxn>
              <a:cxn ang="0">
                <a:pos x="736" y="262"/>
              </a:cxn>
              <a:cxn ang="0">
                <a:pos x="806" y="362"/>
              </a:cxn>
              <a:cxn ang="0">
                <a:pos x="901" y="234"/>
              </a:cxn>
              <a:cxn ang="0">
                <a:pos x="808" y="117"/>
              </a:cxn>
              <a:cxn ang="0">
                <a:pos x="738" y="105"/>
              </a:cxn>
              <a:cxn ang="0">
                <a:pos x="334" y="290"/>
              </a:cxn>
              <a:cxn ang="0">
                <a:pos x="279" y="473"/>
              </a:cxn>
              <a:cxn ang="0">
                <a:pos x="302" y="521"/>
              </a:cxn>
              <a:cxn ang="0">
                <a:pos x="382" y="570"/>
              </a:cxn>
              <a:cxn ang="0">
                <a:pos x="350" y="497"/>
              </a:cxn>
              <a:cxn ang="0">
                <a:pos x="332" y="475"/>
              </a:cxn>
              <a:cxn ang="0">
                <a:pos x="398" y="202"/>
              </a:cxn>
              <a:cxn ang="0">
                <a:pos x="167" y="0"/>
              </a:cxn>
              <a:cxn ang="0">
                <a:pos x="816" y="53"/>
              </a:cxn>
              <a:cxn ang="0">
                <a:pos x="997" y="153"/>
              </a:cxn>
              <a:cxn ang="0">
                <a:pos x="923" y="320"/>
              </a:cxn>
              <a:cxn ang="0">
                <a:pos x="786" y="457"/>
              </a:cxn>
              <a:cxn ang="0">
                <a:pos x="740" y="578"/>
              </a:cxn>
              <a:cxn ang="0">
                <a:pos x="609" y="648"/>
              </a:cxn>
              <a:cxn ang="0">
                <a:pos x="456" y="658"/>
              </a:cxn>
              <a:cxn ang="0">
                <a:pos x="312" y="608"/>
              </a:cxn>
              <a:cxn ang="0">
                <a:pos x="211" y="499"/>
              </a:cxn>
              <a:cxn ang="0">
                <a:pos x="129" y="371"/>
              </a:cxn>
              <a:cxn ang="0">
                <a:pos x="36" y="214"/>
              </a:cxn>
              <a:cxn ang="0">
                <a:pos x="0" y="53"/>
              </a:cxn>
              <a:cxn ang="0">
                <a:pos x="167" y="0"/>
              </a:cxn>
            </a:cxnLst>
            <a:rect l="0" t="0" r="r" b="b"/>
            <a:pathLst>
              <a:path w="1015" h="1115">
                <a:moveTo>
                  <a:pt x="221" y="1069"/>
                </a:moveTo>
                <a:lnTo>
                  <a:pt x="804" y="1069"/>
                </a:lnTo>
                <a:lnTo>
                  <a:pt x="814" y="1069"/>
                </a:lnTo>
                <a:lnTo>
                  <a:pt x="822" y="1073"/>
                </a:lnTo>
                <a:lnTo>
                  <a:pt x="830" y="1079"/>
                </a:lnTo>
                <a:lnTo>
                  <a:pt x="834" y="1085"/>
                </a:lnTo>
                <a:lnTo>
                  <a:pt x="836" y="1091"/>
                </a:lnTo>
                <a:lnTo>
                  <a:pt x="834" y="1099"/>
                </a:lnTo>
                <a:lnTo>
                  <a:pt x="830" y="1105"/>
                </a:lnTo>
                <a:lnTo>
                  <a:pt x="822" y="1111"/>
                </a:lnTo>
                <a:lnTo>
                  <a:pt x="814" y="1113"/>
                </a:lnTo>
                <a:lnTo>
                  <a:pt x="804" y="1115"/>
                </a:lnTo>
                <a:lnTo>
                  <a:pt x="221" y="1115"/>
                </a:lnTo>
                <a:lnTo>
                  <a:pt x="211" y="1113"/>
                </a:lnTo>
                <a:lnTo>
                  <a:pt x="203" y="1111"/>
                </a:lnTo>
                <a:lnTo>
                  <a:pt x="195" y="1105"/>
                </a:lnTo>
                <a:lnTo>
                  <a:pt x="191" y="1099"/>
                </a:lnTo>
                <a:lnTo>
                  <a:pt x="189" y="1091"/>
                </a:lnTo>
                <a:lnTo>
                  <a:pt x="191" y="1085"/>
                </a:lnTo>
                <a:lnTo>
                  <a:pt x="195" y="1079"/>
                </a:lnTo>
                <a:lnTo>
                  <a:pt x="203" y="1073"/>
                </a:lnTo>
                <a:lnTo>
                  <a:pt x="211" y="1069"/>
                </a:lnTo>
                <a:lnTo>
                  <a:pt x="221" y="1069"/>
                </a:lnTo>
                <a:close/>
                <a:moveTo>
                  <a:pt x="450" y="682"/>
                </a:moveTo>
                <a:lnTo>
                  <a:pt x="585" y="682"/>
                </a:lnTo>
                <a:lnTo>
                  <a:pt x="593" y="684"/>
                </a:lnTo>
                <a:lnTo>
                  <a:pt x="601" y="686"/>
                </a:lnTo>
                <a:lnTo>
                  <a:pt x="607" y="692"/>
                </a:lnTo>
                <a:lnTo>
                  <a:pt x="611" y="698"/>
                </a:lnTo>
                <a:lnTo>
                  <a:pt x="613" y="704"/>
                </a:lnTo>
                <a:lnTo>
                  <a:pt x="611" y="709"/>
                </a:lnTo>
                <a:lnTo>
                  <a:pt x="607" y="715"/>
                </a:lnTo>
                <a:lnTo>
                  <a:pt x="601" y="721"/>
                </a:lnTo>
                <a:lnTo>
                  <a:pt x="593" y="723"/>
                </a:lnTo>
                <a:lnTo>
                  <a:pt x="585" y="725"/>
                </a:lnTo>
                <a:lnTo>
                  <a:pt x="583" y="725"/>
                </a:lnTo>
                <a:lnTo>
                  <a:pt x="589" y="779"/>
                </a:lnTo>
                <a:lnTo>
                  <a:pt x="609" y="833"/>
                </a:lnTo>
                <a:lnTo>
                  <a:pt x="637" y="882"/>
                </a:lnTo>
                <a:lnTo>
                  <a:pt x="674" y="928"/>
                </a:lnTo>
                <a:lnTo>
                  <a:pt x="716" y="972"/>
                </a:lnTo>
                <a:lnTo>
                  <a:pt x="764" y="1012"/>
                </a:lnTo>
                <a:lnTo>
                  <a:pt x="764" y="1057"/>
                </a:lnTo>
                <a:lnTo>
                  <a:pt x="267" y="1057"/>
                </a:lnTo>
                <a:lnTo>
                  <a:pt x="267" y="1012"/>
                </a:lnTo>
                <a:lnTo>
                  <a:pt x="314" y="972"/>
                </a:lnTo>
                <a:lnTo>
                  <a:pt x="358" y="928"/>
                </a:lnTo>
                <a:lnTo>
                  <a:pt x="394" y="882"/>
                </a:lnTo>
                <a:lnTo>
                  <a:pt x="422" y="833"/>
                </a:lnTo>
                <a:lnTo>
                  <a:pt x="442" y="779"/>
                </a:lnTo>
                <a:lnTo>
                  <a:pt x="450" y="725"/>
                </a:lnTo>
                <a:lnTo>
                  <a:pt x="440" y="723"/>
                </a:lnTo>
                <a:lnTo>
                  <a:pt x="432" y="721"/>
                </a:lnTo>
                <a:lnTo>
                  <a:pt x="426" y="715"/>
                </a:lnTo>
                <a:lnTo>
                  <a:pt x="422" y="709"/>
                </a:lnTo>
                <a:lnTo>
                  <a:pt x="422" y="704"/>
                </a:lnTo>
                <a:lnTo>
                  <a:pt x="422" y="698"/>
                </a:lnTo>
                <a:lnTo>
                  <a:pt x="426" y="692"/>
                </a:lnTo>
                <a:lnTo>
                  <a:pt x="434" y="686"/>
                </a:lnTo>
                <a:lnTo>
                  <a:pt x="440" y="684"/>
                </a:lnTo>
                <a:lnTo>
                  <a:pt x="450" y="682"/>
                </a:lnTo>
                <a:close/>
                <a:moveTo>
                  <a:pt x="277" y="105"/>
                </a:moveTo>
                <a:lnTo>
                  <a:pt x="259" y="171"/>
                </a:lnTo>
                <a:lnTo>
                  <a:pt x="197" y="153"/>
                </a:lnTo>
                <a:lnTo>
                  <a:pt x="207" y="117"/>
                </a:lnTo>
                <a:lnTo>
                  <a:pt x="74" y="117"/>
                </a:lnTo>
                <a:lnTo>
                  <a:pt x="90" y="179"/>
                </a:lnTo>
                <a:lnTo>
                  <a:pt x="113" y="234"/>
                </a:lnTo>
                <a:lnTo>
                  <a:pt x="143" y="284"/>
                </a:lnTo>
                <a:lnTo>
                  <a:pt x="173" y="324"/>
                </a:lnTo>
                <a:lnTo>
                  <a:pt x="209" y="362"/>
                </a:lnTo>
                <a:lnTo>
                  <a:pt x="249" y="393"/>
                </a:lnTo>
                <a:lnTo>
                  <a:pt x="265" y="330"/>
                </a:lnTo>
                <a:lnTo>
                  <a:pt x="277" y="262"/>
                </a:lnTo>
                <a:lnTo>
                  <a:pt x="287" y="189"/>
                </a:lnTo>
                <a:lnTo>
                  <a:pt x="289" y="109"/>
                </a:lnTo>
                <a:lnTo>
                  <a:pt x="277" y="105"/>
                </a:lnTo>
                <a:close/>
                <a:moveTo>
                  <a:pt x="738" y="105"/>
                </a:moveTo>
                <a:lnTo>
                  <a:pt x="724" y="109"/>
                </a:lnTo>
                <a:lnTo>
                  <a:pt x="728" y="189"/>
                </a:lnTo>
                <a:lnTo>
                  <a:pt x="736" y="262"/>
                </a:lnTo>
                <a:lnTo>
                  <a:pt x="748" y="330"/>
                </a:lnTo>
                <a:lnTo>
                  <a:pt x="766" y="393"/>
                </a:lnTo>
                <a:lnTo>
                  <a:pt x="806" y="362"/>
                </a:lnTo>
                <a:lnTo>
                  <a:pt x="839" y="324"/>
                </a:lnTo>
                <a:lnTo>
                  <a:pt x="871" y="284"/>
                </a:lnTo>
                <a:lnTo>
                  <a:pt x="901" y="234"/>
                </a:lnTo>
                <a:lnTo>
                  <a:pt x="923" y="179"/>
                </a:lnTo>
                <a:lnTo>
                  <a:pt x="941" y="117"/>
                </a:lnTo>
                <a:lnTo>
                  <a:pt x="808" y="117"/>
                </a:lnTo>
                <a:lnTo>
                  <a:pt x="818" y="153"/>
                </a:lnTo>
                <a:lnTo>
                  <a:pt x="756" y="171"/>
                </a:lnTo>
                <a:lnTo>
                  <a:pt x="738" y="105"/>
                </a:lnTo>
                <a:close/>
                <a:moveTo>
                  <a:pt x="354" y="97"/>
                </a:moveTo>
                <a:lnTo>
                  <a:pt x="348" y="194"/>
                </a:lnTo>
                <a:lnTo>
                  <a:pt x="334" y="290"/>
                </a:lnTo>
                <a:lnTo>
                  <a:pt x="310" y="379"/>
                </a:lnTo>
                <a:lnTo>
                  <a:pt x="281" y="465"/>
                </a:lnTo>
                <a:lnTo>
                  <a:pt x="279" y="473"/>
                </a:lnTo>
                <a:lnTo>
                  <a:pt x="281" y="481"/>
                </a:lnTo>
                <a:lnTo>
                  <a:pt x="289" y="503"/>
                </a:lnTo>
                <a:lnTo>
                  <a:pt x="302" y="521"/>
                </a:lnTo>
                <a:lnTo>
                  <a:pt x="316" y="536"/>
                </a:lnTo>
                <a:lnTo>
                  <a:pt x="350" y="556"/>
                </a:lnTo>
                <a:lnTo>
                  <a:pt x="382" y="570"/>
                </a:lnTo>
                <a:lnTo>
                  <a:pt x="398" y="521"/>
                </a:lnTo>
                <a:lnTo>
                  <a:pt x="374" y="511"/>
                </a:lnTo>
                <a:lnTo>
                  <a:pt x="350" y="497"/>
                </a:lnTo>
                <a:lnTo>
                  <a:pt x="342" y="491"/>
                </a:lnTo>
                <a:lnTo>
                  <a:pt x="336" y="483"/>
                </a:lnTo>
                <a:lnTo>
                  <a:pt x="332" y="475"/>
                </a:lnTo>
                <a:lnTo>
                  <a:pt x="362" y="389"/>
                </a:lnTo>
                <a:lnTo>
                  <a:pt x="384" y="300"/>
                </a:lnTo>
                <a:lnTo>
                  <a:pt x="398" y="202"/>
                </a:lnTo>
                <a:lnTo>
                  <a:pt x="406" y="97"/>
                </a:lnTo>
                <a:lnTo>
                  <a:pt x="354" y="97"/>
                </a:lnTo>
                <a:close/>
                <a:moveTo>
                  <a:pt x="167" y="0"/>
                </a:moveTo>
                <a:lnTo>
                  <a:pt x="847" y="0"/>
                </a:lnTo>
                <a:lnTo>
                  <a:pt x="834" y="27"/>
                </a:lnTo>
                <a:lnTo>
                  <a:pt x="816" y="53"/>
                </a:lnTo>
                <a:lnTo>
                  <a:pt x="1015" y="53"/>
                </a:lnTo>
                <a:lnTo>
                  <a:pt x="1009" y="89"/>
                </a:lnTo>
                <a:lnTo>
                  <a:pt x="997" y="153"/>
                </a:lnTo>
                <a:lnTo>
                  <a:pt x="979" y="214"/>
                </a:lnTo>
                <a:lnTo>
                  <a:pt x="955" y="270"/>
                </a:lnTo>
                <a:lnTo>
                  <a:pt x="923" y="320"/>
                </a:lnTo>
                <a:lnTo>
                  <a:pt x="885" y="371"/>
                </a:lnTo>
                <a:lnTo>
                  <a:pt x="839" y="417"/>
                </a:lnTo>
                <a:lnTo>
                  <a:pt x="786" y="457"/>
                </a:lnTo>
                <a:lnTo>
                  <a:pt x="804" y="499"/>
                </a:lnTo>
                <a:lnTo>
                  <a:pt x="776" y="542"/>
                </a:lnTo>
                <a:lnTo>
                  <a:pt x="740" y="578"/>
                </a:lnTo>
                <a:lnTo>
                  <a:pt x="700" y="608"/>
                </a:lnTo>
                <a:lnTo>
                  <a:pt x="656" y="632"/>
                </a:lnTo>
                <a:lnTo>
                  <a:pt x="609" y="648"/>
                </a:lnTo>
                <a:lnTo>
                  <a:pt x="559" y="658"/>
                </a:lnTo>
                <a:lnTo>
                  <a:pt x="507" y="662"/>
                </a:lnTo>
                <a:lnTo>
                  <a:pt x="456" y="658"/>
                </a:lnTo>
                <a:lnTo>
                  <a:pt x="406" y="648"/>
                </a:lnTo>
                <a:lnTo>
                  <a:pt x="358" y="632"/>
                </a:lnTo>
                <a:lnTo>
                  <a:pt x="312" y="608"/>
                </a:lnTo>
                <a:lnTo>
                  <a:pt x="273" y="578"/>
                </a:lnTo>
                <a:lnTo>
                  <a:pt x="239" y="542"/>
                </a:lnTo>
                <a:lnTo>
                  <a:pt x="211" y="499"/>
                </a:lnTo>
                <a:lnTo>
                  <a:pt x="227" y="457"/>
                </a:lnTo>
                <a:lnTo>
                  <a:pt x="175" y="417"/>
                </a:lnTo>
                <a:lnTo>
                  <a:pt x="129" y="371"/>
                </a:lnTo>
                <a:lnTo>
                  <a:pt x="90" y="320"/>
                </a:lnTo>
                <a:lnTo>
                  <a:pt x="60" y="270"/>
                </a:lnTo>
                <a:lnTo>
                  <a:pt x="36" y="214"/>
                </a:lnTo>
                <a:lnTo>
                  <a:pt x="16" y="153"/>
                </a:lnTo>
                <a:lnTo>
                  <a:pt x="4" y="89"/>
                </a:lnTo>
                <a:lnTo>
                  <a:pt x="0" y="53"/>
                </a:lnTo>
                <a:lnTo>
                  <a:pt x="197" y="53"/>
                </a:lnTo>
                <a:lnTo>
                  <a:pt x="181" y="27"/>
                </a:lnTo>
                <a:lnTo>
                  <a:pt x="167" y="0"/>
                </a:lnTo>
                <a:close/>
              </a:path>
            </a:pathLst>
          </a:custGeom>
          <a:solidFill>
            <a:srgbClr val="2D3494"/>
          </a:solidFill>
          <a:ln w="0">
            <a:noFill/>
            <a:prstDash val="solid"/>
            <a:round/>
            <a:headEnd/>
            <a:tailEnd/>
          </a:ln>
          <a:extLst/>
        </p:spPr>
        <p:txBody>
          <a:bodyPr lIns="84406" tIns="42203" rIns="84406" bIns="42203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62">
              <a:latin typeface="+mn-lt"/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208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2"/>
            <a:ext cx="12192000" cy="97559"/>
          </a:xfrm>
          <a:prstGeom prst="rect">
            <a:avLst/>
          </a:prstGeom>
        </p:spPr>
      </p:pic>
      <p:grpSp>
        <p:nvGrpSpPr>
          <p:cNvPr id="31" name="Группа 3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1989977" y="253238"/>
            <a:ext cx="972347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ЛИТЕРАТУРНОЕ ЧТЕНИЕ. ЕФРОСИНИНА Л.А. И ДР. – </a:t>
            </a:r>
            <a:r>
              <a:rPr lang="ru-RU" sz="2000" b="1" dirty="0" smtClean="0">
                <a:solidFill>
                  <a:srgbClr val="FF6699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НОВА В ФПУ</a:t>
            </a:r>
            <a:endParaRPr lang="ru-RU" sz="2000" b="1" dirty="0">
              <a:solidFill>
                <a:srgbClr val="FF6699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pic>
        <p:nvPicPr>
          <p:cNvPr id="24" name="Picture 22" descr="U:\DF_Hudred\_ВЕНТАНА\38542\cover\cover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6996" y="1450496"/>
            <a:ext cx="1425965" cy="19109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3" descr="U:\DF_Hudred\_ВЕНТАНА\38327\cover\cover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601" y="1448376"/>
            <a:ext cx="1451875" cy="19152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5603877"/>
              </p:ext>
            </p:extLst>
          </p:nvPr>
        </p:nvGraphicFramePr>
        <p:xfrm>
          <a:off x="461607" y="4143695"/>
          <a:ext cx="5567525" cy="16236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5717">
                  <a:extLst>
                    <a:ext uri="{9D8B030D-6E8A-4147-A177-3AD203B41FA5}">
                      <a16:colId xmlns:a16="http://schemas.microsoft.com/office/drawing/2014/main" val="3669150609"/>
                    </a:ext>
                  </a:extLst>
                </a:gridCol>
                <a:gridCol w="2139043">
                  <a:extLst>
                    <a:ext uri="{9D8B030D-6E8A-4147-A177-3AD203B41FA5}">
                      <a16:colId xmlns:a16="http://schemas.microsoft.com/office/drawing/2014/main" val="892373509"/>
                    </a:ext>
                  </a:extLst>
                </a:gridCol>
                <a:gridCol w="587829">
                  <a:extLst>
                    <a:ext uri="{9D8B030D-6E8A-4147-A177-3AD203B41FA5}">
                      <a16:colId xmlns:a16="http://schemas.microsoft.com/office/drawing/2014/main" val="753614388"/>
                    </a:ext>
                  </a:extLst>
                </a:gridCol>
                <a:gridCol w="1934936">
                  <a:extLst>
                    <a:ext uri="{9D8B030D-6E8A-4147-A177-3AD203B41FA5}">
                      <a16:colId xmlns:a16="http://schemas.microsoft.com/office/drawing/2014/main" val="2740690258"/>
                    </a:ext>
                  </a:extLst>
                </a:gridCol>
              </a:tblGrid>
              <a:tr h="177443"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№ ФПУ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НАИМЕНОВАНИЕ УЧЕБНИК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КЛАССЫ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АВТОРЫ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632325"/>
                  </a:ext>
                </a:extLst>
              </a:tr>
              <a:tr h="278798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1.1.1.1.</a:t>
                      </a:r>
                      <a:r>
                        <a:rPr lang="en-US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.13.1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итературное чтение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.А.Ефросинина,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.В.Долгих</a:t>
                      </a: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950474"/>
                  </a:ext>
                </a:extLst>
              </a:tr>
              <a:tr h="37968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1.1.1.1.</a:t>
                      </a:r>
                      <a:r>
                        <a:rPr lang="en-US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.13.2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итературное чтение (в 2 частях)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2</a:t>
                      </a:r>
                      <a:endParaRPr lang="ru-RU" sz="1100" dirty="0"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.А.Ефросинина,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.В.Долгих</a:t>
                      </a: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8783861"/>
                  </a:ext>
                </a:extLst>
              </a:tr>
              <a:tr h="37968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1.1.1.1.</a:t>
                      </a:r>
                      <a:r>
                        <a:rPr lang="en-US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.13.3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итературное чтение (в 2 частях)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3</a:t>
                      </a:r>
                      <a:endParaRPr lang="ru-RU" sz="1100" dirty="0"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.А.Ефросинина,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.В.Долгих</a:t>
                      </a: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708997"/>
                  </a:ext>
                </a:extLst>
              </a:tr>
              <a:tr h="37968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1.1.1.1.</a:t>
                      </a:r>
                      <a:r>
                        <a:rPr lang="en-US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ru-RU" sz="1100" b="0" i="0" u="none" strike="noStrike" dirty="0" smtClean="0">
                          <a:effectLst/>
                          <a:latin typeface="Calibri" panose="020F0502020204030204" pitchFamily="34" charset="0"/>
                        </a:rPr>
                        <a:t>.13.4</a:t>
                      </a:r>
                      <a:endParaRPr lang="ru-RU" sz="11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итературное чтение (в 2 частях)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4</a:t>
                      </a:r>
                      <a:endParaRPr lang="ru-RU" sz="1100" dirty="0"/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.А.Ефросинина,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.В.Долгих</a:t>
                      </a: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1619674"/>
                  </a:ext>
                </a:extLst>
              </a:tr>
            </a:tbl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6348904" y="1448376"/>
            <a:ext cx="5147726" cy="34317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44" indent="-285744" defTabSz="914354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сширение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руга детского чтения на основе принципов преемственности и перспективности</a:t>
            </a:r>
          </a:p>
          <a:p>
            <a:pPr marL="285744" indent="-285744" defTabSz="914354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Формирование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читательских умений при использовании ассоциативного и сравнительно-сопоставительного анализов художественных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 и информационных текстов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44" indent="-285744" defTabSz="914354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е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эмоциональной отзывчивости на литературное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роизведение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44" indent="-285744" defTabSz="914354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Сочетание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боты над художественным произведением и детской книгой как особым объектом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зучения</a:t>
            </a:r>
            <a:endParaRPr lang="en-US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defTabSz="914354">
              <a:spcBef>
                <a:spcPts val="1067"/>
              </a:spcBef>
              <a:buClr>
                <a:srgbClr val="0073B8"/>
              </a:buClr>
              <a:buSzPct val="66000"/>
            </a:pPr>
            <a:endParaRPr lang="en-US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defTabSz="914354">
              <a:spcBef>
                <a:spcPts val="1067"/>
              </a:spcBef>
              <a:buClr>
                <a:srgbClr val="0073B8"/>
              </a:buClr>
              <a:buSzPct val="66000"/>
            </a:pP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defTabSz="914354">
              <a:spcBef>
                <a:spcPts val="1067"/>
              </a:spcBef>
              <a:buClr>
                <a:srgbClr val="0073B8"/>
              </a:buClr>
              <a:buSzPct val="66000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чебники доработаны и обновлены в содержательной части: </a:t>
            </a:r>
            <a:r>
              <a:rPr lang="ru-RU" sz="1200" dirty="0"/>
              <a:t>включены произведения народов России, современных авторов, расширена работа с текстами научно-познавательной </a:t>
            </a:r>
            <a:r>
              <a:rPr lang="ru-RU" sz="1200" dirty="0" smtClean="0"/>
              <a:t>направленности; предложены новые рубрики; введён раздел «Страница Книгочея».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0464" y="647088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767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8"/>
          <p:cNvSpPr txBox="1"/>
          <p:nvPr/>
        </p:nvSpPr>
        <p:spPr>
          <a:xfrm>
            <a:off x="1712422" y="134588"/>
            <a:ext cx="6451600" cy="46968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труктура программы НОО</a:t>
            </a:r>
            <a:endParaRPr lang="en-US"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9" name="AutoShape 9"/>
          <p:cNvSpPr/>
          <p:nvPr/>
        </p:nvSpPr>
        <p:spPr>
          <a:xfrm>
            <a:off x="1289" y="755810"/>
            <a:ext cx="5537200" cy="0"/>
          </a:xfrm>
          <a:prstGeom prst="line">
            <a:avLst/>
          </a:prstGeom>
          <a:ln w="9525" cap="flat">
            <a:solidFill>
              <a:srgbClr val="2E3092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7" name="Google Shape;627;p46"/>
          <p:cNvSpPr/>
          <p:nvPr/>
        </p:nvSpPr>
        <p:spPr>
          <a:xfrm rot="5340408" flipH="1">
            <a:off x="2520756" y="3555453"/>
            <a:ext cx="1199980" cy="1199980"/>
          </a:xfrm>
          <a:prstGeom prst="blockArc">
            <a:avLst>
              <a:gd name="adj1" fmla="val 5179522"/>
              <a:gd name="adj2" fmla="val 5154282"/>
              <a:gd name="adj3" fmla="val 8425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Google Shape;627;p46"/>
          <p:cNvSpPr/>
          <p:nvPr/>
        </p:nvSpPr>
        <p:spPr>
          <a:xfrm rot="5340408" flipH="1">
            <a:off x="2520756" y="3563763"/>
            <a:ext cx="1199980" cy="1199980"/>
          </a:xfrm>
          <a:prstGeom prst="blockArc">
            <a:avLst>
              <a:gd name="adj1" fmla="val 7919292"/>
              <a:gd name="adj2" fmla="val 5154282"/>
              <a:gd name="adj3" fmla="val 8425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60950" tIns="30467" rIns="60950" bIns="30467" anchor="ctr" anchorCtr="0">
            <a:noAutofit/>
          </a:bodyPr>
          <a:lstStyle/>
          <a:p>
            <a:pPr algn="ctr"/>
            <a:endParaRPr sz="12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632;p46"/>
          <p:cNvSpPr txBox="1"/>
          <p:nvPr/>
        </p:nvSpPr>
        <p:spPr>
          <a:xfrm>
            <a:off x="2673346" y="3888753"/>
            <a:ext cx="894800" cy="5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0950" tIns="60950" rIns="60950" bIns="60950" anchor="ctr" anchorCtr="0">
            <a:noAutofit/>
          </a:bodyPr>
          <a:lstStyle/>
          <a:p>
            <a:pPr algn="ctr"/>
            <a:r>
              <a:rPr lang="ru-RU" sz="2400" b="1" dirty="0">
                <a:latin typeface="Yu Gothic UI Light" panose="020B0300000000000000" pitchFamily="34" charset="-128"/>
                <a:ea typeface="Yu Gothic UI Light" panose="020B0300000000000000" pitchFamily="34" charset="-128"/>
                <a:cs typeface="Roboto Condensed"/>
                <a:sym typeface="Roboto Condensed"/>
              </a:rPr>
              <a:t>80/20</a:t>
            </a:r>
            <a:endParaRPr sz="2400" b="1" dirty="0">
              <a:latin typeface="Yu Gothic UI Light" panose="020B0300000000000000" pitchFamily="34" charset="-128"/>
              <a:ea typeface="Yu Gothic UI Light" panose="020B0300000000000000" pitchFamily="34" charset="-128"/>
              <a:cs typeface="Roboto Condensed"/>
              <a:sym typeface="Roboto Condensed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95718" y="820518"/>
            <a:ext cx="650205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/>
            </a:r>
            <a:br>
              <a:rPr lang="ru-RU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</a:br>
            <a:r>
              <a:rPr lang="ru-RU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Обязательная часть.</a:t>
            </a:r>
            <a:br>
              <a:rPr lang="ru-RU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</a:br>
            <a:r>
              <a:rPr lang="ru-RU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Часть, формируемая участниками образовательных отношений из перечня предметов, курсов, модулей</a:t>
            </a:r>
          </a:p>
          <a:p>
            <a:pPr algn="ctr"/>
            <a:r>
              <a:rPr lang="ru-RU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 ( в том числе внеурочной деятельности), предлагаемых организацией для выбора.</a:t>
            </a:r>
          </a:p>
          <a:p>
            <a:pPr algn="ctr"/>
            <a:r>
              <a:rPr lang="ru-RU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/>
            </a:r>
            <a:br>
              <a:rPr lang="ru-RU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</a:br>
            <a:r>
              <a:rPr lang="ru-RU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Сохраняется соотношение: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2764445" y="3052057"/>
            <a:ext cx="914400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67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НОО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TextBox 2"/>
          <p:cNvSpPr txBox="1"/>
          <p:nvPr/>
        </p:nvSpPr>
        <p:spPr>
          <a:xfrm>
            <a:off x="7597635" y="852308"/>
            <a:ext cx="4230300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ru-RU" sz="1400" dirty="0">
                <a:latin typeface="Yu Gothic UI Semibold" panose="020B0700000000000000" pitchFamily="34" charset="-128"/>
                <a:ea typeface="Yu Gothic UI Semibold" panose="020B0700000000000000" pitchFamily="34" charset="-128"/>
              </a:rPr>
              <a:t>Программа НОО </a:t>
            </a:r>
            <a:r>
              <a:rPr lang="ru-RU" sz="1400" dirty="0" smtClean="0">
                <a:latin typeface="Yu Gothic UI Semibold" panose="020B0700000000000000" pitchFamily="34" charset="-128"/>
                <a:ea typeface="Yu Gothic UI Semibold" panose="020B0700000000000000" pitchFamily="34" charset="-128"/>
              </a:rPr>
              <a:t>включает </a:t>
            </a:r>
            <a:r>
              <a:rPr lang="ru-RU" sz="1400" dirty="0">
                <a:latin typeface="Yu Gothic UI Semibold" panose="020B0700000000000000" pitchFamily="34" charset="-128"/>
                <a:ea typeface="Yu Gothic UI Semibold" panose="020B0700000000000000" pitchFamily="34" charset="-128"/>
              </a:rPr>
              <a:t>3 раздела:</a:t>
            </a:r>
            <a:br>
              <a:rPr lang="ru-RU" sz="1400" dirty="0">
                <a:latin typeface="Yu Gothic UI Semibold" panose="020B0700000000000000" pitchFamily="34" charset="-128"/>
                <a:ea typeface="Yu Gothic UI Semibold" panose="020B0700000000000000" pitchFamily="34" charset="-128"/>
              </a:rPr>
            </a:br>
            <a:endParaRPr lang="ru-RU" sz="1400" dirty="0">
              <a:latin typeface="Yu Gothic UI Semibold" panose="020B0700000000000000" pitchFamily="34" charset="-128"/>
              <a:ea typeface="Yu Gothic UI Semibold" panose="020B0700000000000000" pitchFamily="34" charset="-128"/>
            </a:endParaRPr>
          </a:p>
        </p:txBody>
      </p:sp>
      <p:sp>
        <p:nvSpPr>
          <p:cNvPr id="44" name="TextBox 4"/>
          <p:cNvSpPr txBox="1"/>
          <p:nvPr/>
        </p:nvSpPr>
        <p:spPr>
          <a:xfrm>
            <a:off x="7682133" y="1329114"/>
            <a:ext cx="2665642" cy="8617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04815" indent="-304815">
              <a:buFont typeface="Courier New" panose="02070309020205020404" pitchFamily="49" charset="0"/>
              <a:buChar char="o"/>
            </a:pPr>
            <a:r>
              <a:rPr lang="ru-RU" sz="1400" dirty="0">
                <a:latin typeface="Yu Gothic UI Semibold" panose="020B0700000000000000" pitchFamily="34" charset="-128"/>
                <a:ea typeface="Yu Gothic UI Semibold" panose="020B0700000000000000" pitchFamily="34" charset="-128"/>
              </a:rPr>
              <a:t>целевой</a:t>
            </a:r>
            <a:r>
              <a:rPr lang="ru-RU" sz="1400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   (пояснительная записка; планируемые результаты; систему оценки)</a:t>
            </a:r>
            <a:br>
              <a:rPr lang="ru-RU" sz="1400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</a:br>
            <a:endParaRPr lang="ru-RU" sz="1400" dirty="0"/>
          </a:p>
        </p:txBody>
      </p:sp>
      <p:sp>
        <p:nvSpPr>
          <p:cNvPr id="45" name="TextBox 4"/>
          <p:cNvSpPr txBox="1"/>
          <p:nvPr/>
        </p:nvSpPr>
        <p:spPr>
          <a:xfrm>
            <a:off x="7597634" y="2388270"/>
            <a:ext cx="2834639" cy="193899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04815" indent="-304815">
              <a:buFont typeface="Courier New" panose="02070309020205020404" pitchFamily="49" charset="0"/>
              <a:buChar char="o"/>
            </a:pPr>
            <a:r>
              <a:rPr lang="ru-RU" sz="1400" dirty="0">
                <a:latin typeface="Yu Gothic UI Semibold" panose="020B0700000000000000" pitchFamily="34" charset="-128"/>
                <a:ea typeface="Yu Gothic UI Semibold" panose="020B0700000000000000" pitchFamily="34" charset="-128"/>
              </a:rPr>
              <a:t>содержательный </a:t>
            </a:r>
            <a:r>
              <a:rPr lang="ru-RU" sz="1400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(рабочие программы учебных предметов, курсов, модулей, в том числе внеурочной деятельности; программу формирования УУД; рабочую программу воспитания; программу коррекционной работы)</a:t>
            </a:r>
            <a:br>
              <a:rPr lang="ru-RU" sz="1400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</a:br>
            <a:endParaRPr lang="ru-RU" sz="1400" dirty="0">
              <a:latin typeface="Yu Gothic UI Light" panose="020B0300000000000000" pitchFamily="34" charset="-128"/>
              <a:ea typeface="Yu Gothic UI Light" panose="020B0300000000000000" pitchFamily="34" charset="-128"/>
            </a:endParaRPr>
          </a:p>
        </p:txBody>
      </p:sp>
      <p:sp>
        <p:nvSpPr>
          <p:cNvPr id="46" name="TextBox 4"/>
          <p:cNvSpPr txBox="1"/>
          <p:nvPr/>
        </p:nvSpPr>
        <p:spPr>
          <a:xfrm>
            <a:off x="7682133" y="4480213"/>
            <a:ext cx="2946400" cy="15081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04815" indent="-304815">
              <a:buFont typeface="Courier New" panose="02070309020205020404" pitchFamily="49" charset="0"/>
              <a:buChar char="o"/>
            </a:pPr>
            <a:r>
              <a:rPr lang="ru-RU" sz="1400" dirty="0">
                <a:latin typeface="Yu Gothic UI Semibold" panose="020B0700000000000000" pitchFamily="34" charset="-128"/>
                <a:ea typeface="Yu Gothic UI Semibold" panose="020B0700000000000000" pitchFamily="34" charset="-128"/>
              </a:rPr>
              <a:t>организационный </a:t>
            </a:r>
            <a:r>
              <a:rPr lang="ru-RU" sz="1400" dirty="0">
                <a:latin typeface="Yu Gothic UI Light" panose="020B0300000000000000" pitchFamily="34" charset="-128"/>
                <a:ea typeface="Yu Gothic UI Light" panose="020B0300000000000000" pitchFamily="34" charset="-128"/>
              </a:rPr>
              <a:t>(учебный план; план внеурочной деятельности, календарный учебный график; календарный план воспитательной работы, характеристику условий реализации программ)</a:t>
            </a: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 flipH="1">
            <a:off x="7459133" y="2264997"/>
            <a:ext cx="4368802" cy="370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 flipH="1">
            <a:off x="7544249" y="4311335"/>
            <a:ext cx="4283686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54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796535" y="-63743"/>
            <a:ext cx="9000000" cy="719233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1824136"/>
              </p:ext>
            </p:extLst>
          </p:nvPr>
        </p:nvGraphicFramePr>
        <p:xfrm>
          <a:off x="1818866" y="451401"/>
          <a:ext cx="9960269" cy="60876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770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85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46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05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/>
                        <a:t>Содержание учебника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/>
                        <a:t>Примерная рабочая программа  по предмету</a:t>
                      </a:r>
                      <a:endPara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/>
                        <a:t>Комментарий</a:t>
                      </a:r>
                      <a:endPara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516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Развитие речи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Развитие речи. 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/>
                        <a:t>Полностью соответствует элементам содержания ПРП</a:t>
                      </a:r>
                      <a:endParaRPr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16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Слово и предложение. Выделение предложений из речевого потока. Слово как объект изучения, материал для анализа. Значение слова. Различение слова и предложения. Работа с предложением: выделение слов, изменение их порядка, распространение и сокращение предложения.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Слово и предложение. Различение слова и предложения. Работа с предложением: выделение слов, изменение их порядка. Восприятие слова как объекта изучения, материала для анализа. Наблюдение над значением слова.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/>
                        <a:t>Полностью соответствует элементам содержания ПРП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96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Фонетика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Фонетика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/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10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рафика. Различение звука и буквы: буква как знак звука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рафика. Различение звука и буквы: буква как знак звука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4679958"/>
                  </a:ext>
                </a:extLst>
              </a:tr>
              <a:tr h="4879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ение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ение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7482309"/>
                  </a:ext>
                </a:extLst>
              </a:tr>
              <a:tr h="481420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исьмо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исьмо.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2612738"/>
                  </a:ext>
                </a:extLst>
              </a:tr>
              <a:tr h="918623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. Знакомство с правилами правописания и их применение: раздельное написание слов; 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. Правила правописания и их применение: раздельное написание слов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9643494"/>
                  </a:ext>
                </a:extLst>
              </a:tr>
              <a:tr h="918623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осприятие художественного произведения. Восприятие художественного произведения, читаемого взрослым или одноклассником.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01075284"/>
                  </a:ext>
                </a:extLst>
              </a:tr>
            </a:tbl>
          </a:graphicData>
        </a:graphic>
      </p:graphicFrame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1580" y="779386"/>
            <a:ext cx="1105807" cy="14553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67881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0"/>
            <a:ext cx="9000000" cy="719233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2021</a:t>
            </a:r>
            <a:endParaRPr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80646855"/>
              </p:ext>
            </p:extLst>
          </p:nvPr>
        </p:nvGraphicFramePr>
        <p:xfrm>
          <a:off x="2842954" y="790274"/>
          <a:ext cx="8958420" cy="4277004"/>
        </p:xfrm>
        <a:graphic>
          <a:graphicData uri="http://schemas.openxmlformats.org/drawingml/2006/table">
            <a:tbl>
              <a:tblPr firstRow="1" bandRow="1"/>
              <a:tblGrid>
                <a:gridCol w="40846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395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41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62807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600" dirty="0"/>
                        <a:t>Содержание учебника </a:t>
                      </a:r>
                      <a:endParaRPr sz="16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600" dirty="0"/>
                        <a:t>Примерная рабочая программа  по предмету</a:t>
                      </a:r>
                      <a:endParaRPr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600" dirty="0"/>
                        <a:t>Комментарий</a:t>
                      </a:r>
                      <a:endParaRPr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3032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держание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едставлено в разделе «Развитие речи»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щие сведения о языке 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Язык как основное средство человеческого общения. Цели и ситуации общения.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69924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нетика и орфоэпия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нетика. Орфоэпия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рафика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рафика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2594">
                <a:tc rowSpan="2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лово и предложение. Пунктуация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ексика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9224847"/>
                  </a:ext>
                </a:extLst>
              </a:tr>
              <a:tr h="42259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интаксис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4131585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393992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 речи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 речи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7528024"/>
                  </a:ext>
                </a:extLst>
              </a:tr>
            </a:tbl>
          </a:graphicData>
        </a:graphic>
      </p:graphicFrame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8142" y="977340"/>
            <a:ext cx="1417690" cy="18323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15441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0"/>
            <a:ext cx="9000000" cy="71923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25662870"/>
              </p:ext>
            </p:extLst>
          </p:nvPr>
        </p:nvGraphicFramePr>
        <p:xfrm>
          <a:off x="2718261" y="687733"/>
          <a:ext cx="8570306" cy="4510655"/>
        </p:xfrm>
        <a:graphic>
          <a:graphicData uri="http://schemas.openxmlformats.org/drawingml/2006/table">
            <a:tbl>
              <a:tblPr firstRow="1" bandRow="1"/>
              <a:tblGrid>
                <a:gridCol w="37678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401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622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527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600" dirty="0"/>
                        <a:t>Содержание учебника </a:t>
                      </a:r>
                      <a:endParaRPr sz="16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600"/>
                        <a:t>Примерная рабочая программа  по предмету</a:t>
                      </a:r>
                      <a:endParaRPr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600"/>
                        <a:t>Комментарий</a:t>
                      </a:r>
                      <a:endParaRPr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7380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исла и величины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исла и величины. Однозначные и двузначные числа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 отдельные элементы содержания: понятие «однозначные и двузначные числа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рифметические действия. Сложение, вычитание, умножение и деление в пределах 20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рифметические действия. Сложение и вычитание чисел в пределах 20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: понятия «названия компонентов действий»</a:t>
                      </a:r>
                      <a:endParaRPr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стовые задачи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стовые задачи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46097562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странственные отношения и геометрические фигуры Ось симметрии. Пары симметричных точек, отрезков, многоугольников Фигуры, имеющие одну и несколько осей симметрии.  Определение осей симметрии данной фигуры с помощью перегибания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странственные отношения и геометрические фигуры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2753365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атематическая информация.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атематическая информация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  <a:p>
                      <a:pPr>
                        <a:defRPr/>
                      </a:pPr>
                      <a:endParaRPr lang="ru-RU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83511345"/>
                  </a:ext>
                </a:extLst>
              </a:tr>
            </a:tbl>
          </a:graphicData>
        </a:graphic>
      </p:graphicFrame>
      <p:pic>
        <p:nvPicPr>
          <p:cNvPr id="24" name="Picture 2" descr="D:\Downloads\cover1__w600 (4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9099" y="807436"/>
            <a:ext cx="1571667" cy="2027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8457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872842" y="194744"/>
            <a:ext cx="9000000" cy="64112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екомендации по компенсации отсутствующих элементов содержания 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6" name="Группа 4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7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1" name="Прямая соединительная линия 21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Объект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0696312"/>
              </p:ext>
            </p:extLst>
          </p:nvPr>
        </p:nvGraphicFramePr>
        <p:xfrm>
          <a:off x="2219497" y="1026847"/>
          <a:ext cx="9458723" cy="1938019"/>
        </p:xfrm>
        <a:graphic>
          <a:graphicData uri="http://schemas.openxmlformats.org/drawingml/2006/table">
            <a:tbl>
              <a:tblPr firstRow="1" bandRow="1"/>
              <a:tblGrid>
                <a:gridCol w="4473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855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353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Отсутствующие элементы содержания</a:t>
                      </a:r>
                      <a:endParaRPr sz="1200" dirty="0"/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/>
                        <a:t>Рекомендации по компенсации</a:t>
                      </a:r>
                      <a:endParaRPr sz="1200"/>
                    </a:p>
                    <a:p>
                      <a:pPr algn="ctr">
                        <a:defRPr/>
                      </a:pPr>
                      <a:r>
                        <a:rPr lang="ru-RU" sz="1200"/>
                        <a:t>(при отсутствии элементов содержания)</a:t>
                      </a:r>
                      <a:endParaRPr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 отдельные элементы содержания: понятие «однозначные и двузначные числа»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ключить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онятия «однозначные числа и двузначные числа»  в изучаемые темы. 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baseline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: понятия «названия компонентов действий»</a:t>
                      </a:r>
                      <a:endParaRPr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ключить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онятия «названия компонентов действий»  в изучаемые темы. 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7038092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1868244"/>
                  </a:ext>
                </a:extLst>
              </a:tr>
            </a:tbl>
          </a:graphicData>
        </a:graphic>
      </p:graphicFrame>
      <p:pic>
        <p:nvPicPr>
          <p:cNvPr id="25" name="Picture 2" descr="D:\Downloads\cover1__w600 (4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9099" y="807436"/>
            <a:ext cx="1571667" cy="2027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52598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0"/>
            <a:ext cx="9000000" cy="71923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азделам </a:t>
            </a: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67300958"/>
              </p:ext>
            </p:extLst>
          </p:nvPr>
        </p:nvGraphicFramePr>
        <p:xfrm>
          <a:off x="1753354" y="601299"/>
          <a:ext cx="10200236" cy="4023392"/>
        </p:xfrm>
        <a:graphic>
          <a:graphicData uri="http://schemas.openxmlformats.org/drawingml/2006/table">
            <a:tbl>
              <a:tblPr firstRow="1" bandRow="1"/>
              <a:tblGrid>
                <a:gridCol w="35426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986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589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466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/>
                        <a:t>Содержание учебника </a:t>
                      </a:r>
                      <a:endParaRPr sz="110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/>
                        <a:t>Примерная рабочая программа  по предмету</a:t>
                      </a:r>
                      <a:endParaRPr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/>
                        <a:t>Комментарий</a:t>
                      </a:r>
                      <a:endParaRPr sz="11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93241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100" dirty="0" smtClean="0"/>
                        <a:t>Введение. Этот удивительный мир. Мы — школьники. Я и другие люди.</a:t>
                      </a:r>
                      <a:r>
                        <a:rPr lang="ru-RU" sz="1100" baseline="0" dirty="0" smtClean="0"/>
                        <a:t> </a:t>
                      </a:r>
                      <a:r>
                        <a:rPr lang="ru-RU" sz="1100" dirty="0" smtClean="0"/>
                        <a:t>Труд людей. Семья. Наша страна — Россия. Родной край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и общество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Рабочее место школьника. Правила безопасной работы на  учебном месте, режим труда и  отдыха"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546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Труд людей. Родная природа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и природ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«Погода и термометр.</a:t>
                      </a:r>
                      <a:r>
                        <a:rPr lang="ru-RU" sz="1100" b="1" dirty="0" smtClean="0"/>
                        <a:t> Определение температуры воздуха (воды) по термометру.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1" dirty="0" smtClean="0"/>
                        <a:t>Части растения (называние, краткая характеристика значения для жизни растения): корень, стебель, лист, цветок, плод, семя.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7586984"/>
                  </a:ext>
                </a:extLst>
              </a:tr>
              <a:tr h="157820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100" dirty="0" smtClean="0"/>
                        <a:t>Твоё здоровье. Наша страна — Россия. Родной край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авила безопасной жизни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Безопасность в сети Интернет (электронный дневник и электронные ресурсы школы) в  условиях контролируемого доступа в  Интернет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6278803"/>
                  </a:ext>
                </a:extLst>
              </a:tr>
            </a:tbl>
          </a:graphicData>
        </a:graphic>
      </p:graphicFrame>
      <p:pic>
        <p:nvPicPr>
          <p:cNvPr id="24" name="Picture 2" descr="D:\Downloads\cover1__w600 (12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1750" y="913956"/>
            <a:ext cx="1239070" cy="16022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80315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872842" y="194744"/>
            <a:ext cx="9000000" cy="64112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екомендации по компенсации отсутствующих элементов содержания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6" name="Группа 4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7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1" name="Прямая соединительная линия 21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Объект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21309985"/>
              </p:ext>
            </p:extLst>
          </p:nvPr>
        </p:nvGraphicFramePr>
        <p:xfrm>
          <a:off x="2219497" y="1026847"/>
          <a:ext cx="9458723" cy="2926080"/>
        </p:xfrm>
        <a:graphic>
          <a:graphicData uri="http://schemas.openxmlformats.org/drawingml/2006/table">
            <a:tbl>
              <a:tblPr firstRow="1" bandRow="1"/>
              <a:tblGrid>
                <a:gridCol w="4473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855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353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Отсутствующие элементы содержания</a:t>
                      </a:r>
                      <a:endParaRPr sz="1200" dirty="0"/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/>
                        <a:t>Рекомендации по компенсации</a:t>
                      </a:r>
                      <a:endParaRPr sz="1200"/>
                    </a:p>
                    <a:p>
                      <a:pPr algn="ctr">
                        <a:defRPr/>
                      </a:pPr>
                      <a:r>
                        <a:rPr lang="ru-RU" sz="1200"/>
                        <a:t>(при отсутствии элементов содержания)</a:t>
                      </a:r>
                      <a:endParaRPr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года и термометр. Наблюдение за погодой своего края. Сезонные изменения в природе. Части растения (называние, краткая характеристика значения для жизни растения): корень, стебель, лист, цветок, плод , семя.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endParaRPr lang="ru-RU" sz="12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Использовать</a:t>
                      </a:r>
                      <a:r>
                        <a:rPr lang="ru-RU" sz="1200" b="1" baseline="0" dirty="0" smtClean="0"/>
                        <a:t> пособие «Опыты и эксперименты» 1-2 класс </a:t>
                      </a:r>
                      <a:r>
                        <a:rPr lang="ru-RU" sz="1200" b="1" baseline="0" dirty="0" err="1" smtClean="0"/>
                        <a:t>Дорохина</a:t>
                      </a:r>
                      <a:r>
                        <a:rPr lang="ru-RU" sz="1200" b="1" baseline="0" dirty="0" smtClean="0"/>
                        <a:t> Н.Н., Паршина О.А.  (темы «Живая и неживая природа», «Температура и термометр», «Осадки. Явления природы»</a:t>
                      </a:r>
                      <a:r>
                        <a:rPr lang="ru-RU" sz="1200" b="1" dirty="0" smtClean="0"/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baseline="0" dirty="0" smtClean="0"/>
                        <a:t>использовать материал учебника </a:t>
                      </a:r>
                      <a:r>
                        <a:rPr lang="ru-RU" sz="1200" b="1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«Естествознание. Азбука экологии» 1 класс Шпотова Т.В. (тема «В некотором царстве. Растения»)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baseline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Рабочее место школьника. Правила безопасной работы на  учебном месте, режим труда и  отдыха.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ключить материал о рабочем месте школьника и правилах безопасной работы на учебном месте</a:t>
                      </a: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тему 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7038092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Безопасность в сети Интернет (электронный дневник и электронные ресурсы школы) в  условиях контролируемого доступа в  Интернет»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овать материалы пособия «Информационная безопасность, или Как вести себя в Сети» Сиденко А.Г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1868244"/>
                  </a:ext>
                </a:extLst>
              </a:tr>
            </a:tbl>
          </a:graphicData>
        </a:graphic>
      </p:graphicFrame>
      <p:pic>
        <p:nvPicPr>
          <p:cNvPr id="178178" name="Picture 2" descr="Изображение Опыты и эксперименты в начальной школе. 1-2 классы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206" y="4055389"/>
            <a:ext cx="1817815" cy="2432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180" name="Picture 4" descr="Изображение Естествознание. Азбука экологии. 1 класс. Учебник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3855" y="4063092"/>
            <a:ext cx="1835164" cy="2449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182" name="Picture 6" descr="Изображение Информационная безопасность, или Как вести себя в Сети.  2 - 4 классы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853" y="4063092"/>
            <a:ext cx="1851595" cy="2442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D:\Downloads\cover1__w600 (12)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1750" y="913956"/>
            <a:ext cx="1239070" cy="16022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2801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819238" y="274351"/>
            <a:ext cx="9677392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 b="1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defRPr>
            </a:lvl1pPr>
          </a:lstStyle>
          <a:p>
            <a:r>
              <a:rPr lang="ru-RU" dirty="0"/>
              <a:t>НАЧАЛЬНОЕ ОБЩЕЕ </a:t>
            </a:r>
            <a:r>
              <a:rPr lang="ru-RU" dirty="0" smtClean="0"/>
              <a:t>ОБРАЗОВАНИЕ. УНИВЕРСАЛЬНЫЕ ЛИНИ</a:t>
            </a:r>
            <a:r>
              <a:rPr lang="ru-RU" dirty="0"/>
              <a:t>И</a:t>
            </a:r>
            <a:r>
              <a:rPr lang="ru-RU" dirty="0" smtClean="0"/>
              <a:t> УМК</a:t>
            </a:r>
            <a:endParaRPr lang="ru-RU" dirty="0"/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1600634"/>
              </p:ext>
            </p:extLst>
          </p:nvPr>
        </p:nvGraphicFramePr>
        <p:xfrm>
          <a:off x="655735" y="1096384"/>
          <a:ext cx="11168657" cy="4408134"/>
        </p:xfrm>
        <a:graphic>
          <a:graphicData uri="http://schemas.openxmlformats.org/drawingml/2006/table">
            <a:tbl>
              <a:tblPr/>
              <a:tblGrid>
                <a:gridCol w="2442371">
                  <a:extLst>
                    <a:ext uri="{9D8B030D-6E8A-4147-A177-3AD203B41FA5}">
                      <a16:colId xmlns:a16="http://schemas.microsoft.com/office/drawing/2014/main" val="152928745"/>
                    </a:ext>
                  </a:extLst>
                </a:gridCol>
                <a:gridCol w="8726286">
                  <a:extLst>
                    <a:ext uri="{9D8B030D-6E8A-4147-A177-3AD203B41FA5}">
                      <a16:colId xmlns:a16="http://schemas.microsoft.com/office/drawing/2014/main" val="2898738426"/>
                    </a:ext>
                  </a:extLst>
                </a:gridCol>
              </a:tblGrid>
              <a:tr h="584798">
                <a:tc>
                  <a:txBody>
                    <a:bodyPr/>
                    <a:lstStyle/>
                    <a:p>
                      <a:pPr algn="r" fontAlgn="ctr"/>
                      <a:endParaRPr lang="ru-RU" sz="12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315" marR="10315" marT="1031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УНИВЕРСАЛЬНЫЕ</a:t>
                      </a:r>
                      <a:r>
                        <a:rPr lang="ru-RU" sz="1500" b="1" i="0" u="none" strike="noStrike" baseline="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ЛИНИИ УМК*</a:t>
                      </a:r>
                      <a:endParaRPr lang="ru-RU" sz="15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315" marR="10315" marT="103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391618"/>
                  </a:ext>
                </a:extLst>
              </a:tr>
              <a:tr h="661968">
                <a:tc>
                  <a:txBody>
                    <a:bodyPr/>
                    <a:lstStyle/>
                    <a:p>
                      <a:pPr algn="r" fontAlgn="b"/>
                      <a:r>
                        <a:rPr lang="ru-RU" sz="15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РОДНОЙ</a:t>
                      </a:r>
                      <a:r>
                        <a:rPr lang="ru-RU" sz="1500" b="1" i="0" u="none" strike="noStrike" baseline="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(РУССКИЙ) ЯЗЫК</a:t>
                      </a:r>
                      <a:endParaRPr lang="ru-RU" sz="15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974" marR="116961" marT="103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«Русский родной язык»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О.М.Александров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Л.А.Вербицкая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.И.Богданов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Е.И.Казаков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М.И.Кузнецов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Л.В.Петленко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В.Ю.Романов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Л.Я.Рябинин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О.В.Соколов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1-4)</a:t>
                      </a:r>
                    </a:p>
                  </a:txBody>
                  <a:tcPr marL="77974" marR="10315" marT="1031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75866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ЛИТЕРАТУРНОЕ</a:t>
                      </a:r>
                      <a:r>
                        <a:rPr lang="ru-RU" sz="1500" b="1" i="0" u="none" strike="noStrike" baseline="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ЧТЕНИЕ НА РОДНОМ (РУССКОМ) ЯЗЫКЕ</a:t>
                      </a:r>
                      <a:endParaRPr lang="ru-RU" sz="1500" b="1" i="0" u="none" strike="noStrike" dirty="0" smtClean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974" marR="116961" marT="103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«Литературное чтение на родном русском языке». Учебное пособие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О.М.Александров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М.И.Кузнецов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В.Ю.Романов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Л.А.Рябинин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5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О.В.Соколова</a:t>
                      </a:r>
                      <a:r>
                        <a:rPr lang="ru-RU" sz="15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(1-4)</a:t>
                      </a:r>
                    </a:p>
                  </a:txBody>
                  <a:tcPr marL="77974" marR="10315" marT="1031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4375">
                <a:tc rowSpan="4">
                  <a:txBody>
                    <a:bodyPr/>
                    <a:lstStyle/>
                    <a:p>
                      <a:pPr algn="r" fontAlgn="b"/>
                      <a:r>
                        <a:rPr lang="ru-RU" sz="15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ОРКСЭ</a:t>
                      </a:r>
                      <a:endParaRPr lang="ru-RU" sz="15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974" marR="116961" marT="1031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dirty="0" err="1" smtClean="0">
                          <a:solidFill>
                            <a:srgbClr val="00339A"/>
                          </a:solidFill>
                          <a:latin typeface="+mn-lt"/>
                        </a:rPr>
                        <a:t>А.В.Кураев</a:t>
                      </a:r>
                      <a:r>
                        <a:rPr lang="ru-RU" sz="1500" b="0" dirty="0" smtClean="0">
                          <a:solidFill>
                            <a:srgbClr val="00339A"/>
                          </a:solidFill>
                          <a:latin typeface="+mn-lt"/>
                        </a:rPr>
                        <a:t>, </a:t>
                      </a:r>
                      <a:r>
                        <a:rPr lang="ru-RU" sz="1500" b="0" dirty="0" err="1" smtClean="0">
                          <a:solidFill>
                            <a:srgbClr val="00339A"/>
                          </a:solidFill>
                          <a:latin typeface="+mn-lt"/>
                        </a:rPr>
                        <a:t>А.Л.</a:t>
                      </a:r>
                      <a:r>
                        <a:rPr lang="ru-RU" sz="1500" b="0" i="0" u="none" strike="noStrike" cap="none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Беглов</a:t>
                      </a:r>
                      <a:r>
                        <a:rPr lang="ru-RU" sz="15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500" b="0" i="0" u="none" strike="noStrike" cap="none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Е.В.Саплина</a:t>
                      </a:r>
                      <a:r>
                        <a:rPr lang="ru-RU" sz="15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500" b="0" i="0" u="none" strike="noStrike" cap="none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Е.В.Токарева</a:t>
                      </a:r>
                      <a:r>
                        <a:rPr lang="ru-RU" sz="15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и др.</a:t>
                      </a:r>
                      <a:r>
                        <a:rPr lang="ru-RU" sz="1500" b="0" i="0" u="none" strike="noStrike" cap="none" baseline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(4) </a:t>
                      </a:r>
                    </a:p>
                    <a:p>
                      <a:pPr algn="l" fontAlgn="b"/>
                      <a:r>
                        <a:rPr lang="ru-RU" sz="1500" b="0" i="0" u="none" strike="noStrike" cap="none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А.И.Шемшурина</a:t>
                      </a:r>
                      <a:r>
                        <a:rPr lang="ru-RU" sz="15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 и др. (4)</a:t>
                      </a:r>
                      <a:endParaRPr lang="ru-RU" sz="1500" b="0" i="0" u="none" strike="noStrike" dirty="0">
                        <a:solidFill>
                          <a:srgbClr val="00339A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974" marR="10315" marT="1031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785370"/>
                  </a:ext>
                </a:extLst>
              </a:tr>
              <a:tr h="5334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err="1" smtClean="0">
                          <a:solidFill>
                            <a:srgbClr val="00339A"/>
                          </a:solidFill>
                          <a:latin typeface="+mn-lt"/>
                        </a:rPr>
                        <a:t>Е.В.Саплина</a:t>
                      </a:r>
                      <a:r>
                        <a:rPr lang="ru-RU" sz="1500" b="0" dirty="0" smtClean="0">
                          <a:solidFill>
                            <a:srgbClr val="00339A"/>
                          </a:solidFill>
                          <a:latin typeface="+mn-lt"/>
                        </a:rPr>
                        <a:t>, </a:t>
                      </a:r>
                      <a:r>
                        <a:rPr lang="ru-RU" sz="1500" b="0" dirty="0" err="1" smtClean="0">
                          <a:solidFill>
                            <a:srgbClr val="00339A"/>
                          </a:solidFill>
                          <a:latin typeface="+mn-lt"/>
                        </a:rPr>
                        <a:t>А.И.Саплин</a:t>
                      </a:r>
                      <a:r>
                        <a:rPr lang="ru-RU" sz="1500" b="0" dirty="0" smtClean="0">
                          <a:solidFill>
                            <a:srgbClr val="00339A"/>
                          </a:solidFill>
                          <a:latin typeface="+mn-lt"/>
                        </a:rPr>
                        <a:t> (4)</a:t>
                      </a:r>
                    </a:p>
                  </a:txBody>
                  <a:tcPr marL="77974" marR="10315" marT="1031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4530500"/>
                  </a:ext>
                </a:extLst>
              </a:tr>
              <a:tr h="5428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err="1" smtClean="0">
                          <a:solidFill>
                            <a:srgbClr val="00339A"/>
                          </a:solidFill>
                          <a:latin typeface="+mn-lt"/>
                        </a:rPr>
                        <a:t>Р.Б.Амиров</a:t>
                      </a:r>
                      <a:r>
                        <a:rPr lang="ru-RU" sz="1500" b="0" dirty="0" smtClean="0">
                          <a:solidFill>
                            <a:srgbClr val="00339A"/>
                          </a:solidFill>
                          <a:latin typeface="+mn-lt"/>
                        </a:rPr>
                        <a:t>, </a:t>
                      </a:r>
                      <a:r>
                        <a:rPr lang="ru-RU" sz="1500" b="0" dirty="0" err="1" smtClean="0">
                          <a:solidFill>
                            <a:srgbClr val="00339A"/>
                          </a:solidFill>
                          <a:latin typeface="+mn-lt"/>
                        </a:rPr>
                        <a:t>О.В.Воскресенский</a:t>
                      </a:r>
                      <a:r>
                        <a:rPr lang="ru-RU" sz="1500" b="0" dirty="0" smtClean="0">
                          <a:solidFill>
                            <a:srgbClr val="00339A"/>
                          </a:solidFill>
                          <a:latin typeface="+mn-lt"/>
                        </a:rPr>
                        <a:t>, </a:t>
                      </a:r>
                      <a:r>
                        <a:rPr lang="ru-RU" sz="1500" b="0" dirty="0" err="1" smtClean="0">
                          <a:solidFill>
                            <a:srgbClr val="00339A"/>
                          </a:solidFill>
                          <a:latin typeface="+mn-lt"/>
                        </a:rPr>
                        <a:t>Т.М.Горбачёва</a:t>
                      </a:r>
                      <a:r>
                        <a:rPr lang="ru-RU" sz="1500" b="0" dirty="0" smtClean="0">
                          <a:solidFill>
                            <a:srgbClr val="00339A"/>
                          </a:solidFill>
                          <a:latin typeface="+mn-lt"/>
                        </a:rPr>
                        <a:t> и др.(4)</a:t>
                      </a:r>
                    </a:p>
                  </a:txBody>
                  <a:tcPr marL="77974" marR="10315" marT="1031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8991"/>
                  </a:ext>
                </a:extLst>
              </a:tr>
              <a:tr h="5949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err="1" smtClean="0">
                          <a:solidFill>
                            <a:srgbClr val="00339A"/>
                          </a:solidFill>
                          <a:latin typeface="+mn-lt"/>
                        </a:rPr>
                        <a:t>Н.Ф.Виноградова</a:t>
                      </a:r>
                      <a:r>
                        <a:rPr lang="ru-RU" sz="1500" b="0" dirty="0" smtClean="0">
                          <a:solidFill>
                            <a:srgbClr val="00339A"/>
                          </a:solidFill>
                          <a:latin typeface="+mn-lt"/>
                        </a:rPr>
                        <a:t> (4)</a:t>
                      </a:r>
                    </a:p>
                  </a:txBody>
                  <a:tcPr marL="77974" marR="10315" marT="1031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230766"/>
                  </a:ext>
                </a:extLst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099" y="2393758"/>
            <a:ext cx="939711" cy="33698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975" y="4937207"/>
            <a:ext cx="1046835" cy="29499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973331" y="6615346"/>
            <a:ext cx="9218669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>
              <a:defRPr kumimoji="0" sz="1000" b="1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Calibri"/>
              </a:defRPr>
            </a:lvl1pPr>
          </a:lstStyle>
          <a:p>
            <a:r>
              <a:rPr lang="ru-RU" b="0" dirty="0"/>
              <a:t>*- подходят для работы с любым комплектом/ образовательной системой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949226" y="5891332"/>
            <a:ext cx="1494537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339A"/>
                </a:solidFill>
              </a:rPr>
              <a:t>в ФПУ</a:t>
            </a:r>
            <a:endParaRPr lang="ru-RU" sz="1400" dirty="0">
              <a:solidFill>
                <a:srgbClr val="00339A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582084" y="5892114"/>
            <a:ext cx="1494537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339A"/>
                </a:solidFill>
              </a:rPr>
              <a:t>Учебное пособие </a:t>
            </a:r>
            <a:endParaRPr lang="ru-RU" sz="1400" dirty="0">
              <a:solidFill>
                <a:srgbClr val="00339A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402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168537" y="801600"/>
            <a:ext cx="11944073" cy="7126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Оба курса созданы под руководством </a:t>
            </a:r>
            <a:r>
              <a:rPr lang="ru-RU" sz="2000" b="1" dirty="0" err="1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О.М.Александровой</a:t>
            </a: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 и тесно взаимосвязаны </a:t>
            </a:r>
          </a:p>
        </p:txBody>
      </p:sp>
      <p:pic>
        <p:nvPicPr>
          <p:cNvPr id="71" name="Рисунок 7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4658" y="1794249"/>
            <a:ext cx="1464502" cy="20082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9" name="Рисунок 68"/>
          <p:cNvPicPr>
            <a:picLocks noChangeAspect="1"/>
          </p:cNvPicPr>
          <p:nvPr/>
        </p:nvPicPr>
        <p:blipFill rotWithShape="1">
          <a:blip r:embed="rId4"/>
          <a:srcRect l="40555" t="15136" r="25667" b="4864"/>
          <a:stretch/>
        </p:blipFill>
        <p:spPr>
          <a:xfrm>
            <a:off x="4652314" y="2259630"/>
            <a:ext cx="1488260" cy="19827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72" name="Таблица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933061"/>
              </p:ext>
            </p:extLst>
          </p:nvPr>
        </p:nvGraphicFramePr>
        <p:xfrm>
          <a:off x="200991" y="4748940"/>
          <a:ext cx="7691835" cy="15813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8259">
                  <a:extLst>
                    <a:ext uri="{9D8B030D-6E8A-4147-A177-3AD203B41FA5}">
                      <a16:colId xmlns:a16="http://schemas.microsoft.com/office/drawing/2014/main" val="1147910596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892373509"/>
                    </a:ext>
                  </a:extLst>
                </a:gridCol>
                <a:gridCol w="809625">
                  <a:extLst>
                    <a:ext uri="{9D8B030D-6E8A-4147-A177-3AD203B41FA5}">
                      <a16:colId xmlns:a16="http://schemas.microsoft.com/office/drawing/2014/main" val="753614388"/>
                    </a:ext>
                  </a:extLst>
                </a:gridCol>
                <a:gridCol w="3254151">
                  <a:extLst>
                    <a:ext uri="{9D8B030D-6E8A-4147-A177-3AD203B41FA5}">
                      <a16:colId xmlns:a16="http://schemas.microsoft.com/office/drawing/2014/main" val="2740690258"/>
                    </a:ext>
                  </a:extLst>
                </a:gridCol>
              </a:tblGrid>
              <a:tr h="3440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№ ФПУ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НАИМЕНОВАНИЕ УЧЕБНИКА 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КЛАССЫ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АВТОРЫ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632325"/>
                  </a:ext>
                </a:extLst>
              </a:tr>
              <a:tr h="4981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Учебное пособие* 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Литературное чтение на родном русском языке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1, 2, 3, 4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О.М.Александрова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М.И.Кузнецова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В.Ю.Романова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Л.А.Рябинина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О.В.Соколова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950474"/>
                  </a:ext>
                </a:extLst>
              </a:tr>
              <a:tr h="7023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1.2.1.1.1.22.1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1.2.1.1.1.22.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2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1.2.1.1.1.22.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3</a:t>
                      </a:r>
                      <a:endParaRPr lang="ru-RU" sz="1100" kern="1200" dirty="0" smtClean="0">
                        <a:solidFill>
                          <a:schemeClr val="tx1"/>
                        </a:solidFill>
                        <a:latin typeface="+mn-lt"/>
                        <a:ea typeface="Calibri" panose="020F0502020204030204" pitchFamily="34" charset="0"/>
                        <a:cs typeface="FuturaPT-Book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1.2.1.1.1.22.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4</a:t>
                      </a:r>
                      <a:endParaRPr lang="ru-RU" sz="1100" kern="1200" dirty="0" smtClean="0">
                        <a:solidFill>
                          <a:schemeClr val="tx1"/>
                        </a:solidFill>
                        <a:latin typeface="+mn-lt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Русский родной язык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1, 2, 3, 4</a:t>
                      </a:r>
                      <a:endParaRPr lang="ru-RU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О.М.Александрова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Л.А.Вербицкая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С.И.Богданов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Е.И.Казакова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,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М.И.Кузнецова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FuturaPT-Book"/>
                        </a:rPr>
                        <a:t>, Л.В.Петленко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Calibri" panose="020F0502020204030204" pitchFamily="34" charset="0"/>
                        <a:cs typeface="FuturaPT-Book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601699"/>
                  </a:ext>
                </a:extLst>
              </a:tr>
            </a:tbl>
          </a:graphicData>
        </a:graphic>
      </p:graphicFrame>
      <p:pic>
        <p:nvPicPr>
          <p:cNvPr id="73" name="Picture 2" descr="Изображение Русский родной язык. 1 класс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488" y="1744758"/>
            <a:ext cx="1504977" cy="20337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4" descr="Изображение Русский родной язык. 4 класс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604" y="2157725"/>
            <a:ext cx="1535721" cy="20702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Прямоугольник 74"/>
          <p:cNvSpPr/>
          <p:nvPr/>
        </p:nvSpPr>
        <p:spPr>
          <a:xfrm>
            <a:off x="6628711" y="1886269"/>
            <a:ext cx="52145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endParaRPr lang="ru-RU" sz="1400" b="1" dirty="0" smtClean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  <a:p>
            <a:pPr lvl="0">
              <a:defRPr/>
            </a:pPr>
            <a:r>
              <a:rPr lang="ru-RU" sz="1400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</a:t>
            </a:r>
            <a:endParaRPr lang="ru-RU" sz="1400" b="1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6755261" y="2252451"/>
            <a:ext cx="4557523" cy="1526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В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структуре обоих УМК для 1-4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ласса  единые проблемно-тематических блоки отражают культурно-исторический подход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Члены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авторского коллектива – разработчики Примерной программы по учебному предмету «Литературное чтение на родном (русском) языке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» и «Русский родной язык»,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публикованной на сайте </a:t>
            </a:r>
            <a:r>
              <a:rPr lang="en-US" sz="12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fgosreestr.ru</a:t>
            </a:r>
            <a:endParaRPr lang="ru-RU" sz="1200" b="1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2883631" y="6582103"/>
            <a:ext cx="8959607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r>
              <a:rPr kumimoji="0" lang="ru-RU" sz="10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</a:rPr>
              <a:t>* </a:t>
            </a:r>
            <a:r>
              <a:rPr lang="ru-RU" sz="1000" dirty="0">
                <a:latin typeface="Calibri"/>
              </a:rPr>
              <a:t>В соответствии </a:t>
            </a:r>
            <a:r>
              <a:rPr lang="ru-RU" sz="1000" dirty="0" smtClean="0">
                <a:latin typeface="Calibri"/>
              </a:rPr>
              <a:t>с </a:t>
            </a:r>
            <a:r>
              <a:rPr lang="ru-RU" sz="1000" dirty="0" smtClean="0"/>
              <a:t>ст</a:t>
            </a:r>
            <a:r>
              <a:rPr lang="ru-RU" sz="1000" dirty="0"/>
              <a:t>. 8 п. 3, ст. 18 п. </a:t>
            </a:r>
            <a:r>
              <a:rPr lang="ru-RU" sz="1000" dirty="0" smtClean="0"/>
              <a:t>4 № </a:t>
            </a:r>
            <a:r>
              <a:rPr lang="ru-RU" sz="1000" dirty="0"/>
              <a:t>273-ФЗ </a:t>
            </a:r>
            <a:r>
              <a:rPr lang="ru-RU" sz="1000" dirty="0" smtClean="0">
                <a:latin typeface="Calibri"/>
              </a:rPr>
              <a:t>РФ организации </a:t>
            </a:r>
            <a:r>
              <a:rPr lang="ru-RU" sz="1000" dirty="0">
                <a:latin typeface="Calibri"/>
              </a:rPr>
              <a:t>имеют возможность </a:t>
            </a:r>
            <a:r>
              <a:rPr lang="ru-RU" sz="1000" dirty="0" smtClean="0"/>
              <a:t>приобретать</a:t>
            </a:r>
            <a:r>
              <a:rPr lang="ru-RU" sz="1000" dirty="0"/>
              <a:t> </a:t>
            </a:r>
            <a:r>
              <a:rPr lang="ru-RU" sz="1000" dirty="0" smtClean="0"/>
              <a:t>учебные пособия </a:t>
            </a:r>
            <a:r>
              <a:rPr lang="ru-RU" sz="1000" dirty="0" smtClean="0">
                <a:latin typeface="Calibri"/>
              </a:rPr>
              <a:t>за бюджет</a:t>
            </a:r>
            <a:endParaRPr lang="ru-RU" sz="1000" dirty="0">
              <a:latin typeface="Calibri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873320" y="313921"/>
            <a:ext cx="9439464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РУССКИЙ РОДНОЙ ЯЗЫК И ЛИТЕРАТУРНОЕ ЧТЕНИЕ НА РОДНОМ (РУССКОМ) ЯЗЫКЕ</a:t>
            </a:r>
            <a:endParaRPr lang="ru-RU" sz="2000" b="1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5807" y="1447800"/>
            <a:ext cx="1841142" cy="660235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4391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1770318" y="111466"/>
            <a:ext cx="1034548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Н.Ф. ВИНОГРАДОВА И ДР. ОСНОВЫ РЕЛИГИОЗНЫХ КУЛЬТУР И СВЕТСКОЙ ЭТИКИ (4) – </a:t>
            </a:r>
          </a:p>
          <a:p>
            <a:r>
              <a:rPr lang="ru-RU" sz="2000" b="1" dirty="0" smtClean="0">
                <a:solidFill>
                  <a:srgbClr val="FF6699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НОВА В ФПУ </a:t>
            </a:r>
            <a:endParaRPr lang="ru-RU" sz="2000" b="1" dirty="0">
              <a:solidFill>
                <a:srgbClr val="FF6699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284593" y="1616245"/>
            <a:ext cx="4983357" cy="17158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285744" indent="-285744" defTabSz="914354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2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ru-RU" dirty="0"/>
              <a:t>Доступное для возраста учащихся изложение теоретического материала</a:t>
            </a:r>
          </a:p>
          <a:p>
            <a:r>
              <a:rPr lang="ru-RU" dirty="0"/>
              <a:t>Современный и разнообразный методический аппарат, ориентированный на всестороннее раскрытие способностей ребенка</a:t>
            </a:r>
          </a:p>
          <a:p>
            <a:r>
              <a:rPr lang="ru-RU" dirty="0"/>
              <a:t>Наличие исследовательских и проектных заданий, заданий на развитие коммуникативных навыков, умения работать в команде</a:t>
            </a:r>
          </a:p>
          <a:p>
            <a:r>
              <a:rPr lang="ru-RU" dirty="0"/>
              <a:t>Возможность организации различных форм </a:t>
            </a:r>
            <a:r>
              <a:rPr lang="ru-RU" dirty="0" smtClean="0"/>
              <a:t>обучения</a:t>
            </a:r>
            <a:endParaRPr lang="ru-RU" dirty="0"/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92" y="1665876"/>
            <a:ext cx="1609937" cy="2106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703" y="1619437"/>
            <a:ext cx="1624761" cy="2125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178050"/>
              </p:ext>
            </p:extLst>
          </p:nvPr>
        </p:nvGraphicFramePr>
        <p:xfrm>
          <a:off x="611858" y="4340219"/>
          <a:ext cx="6150892" cy="17048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8498">
                  <a:extLst>
                    <a:ext uri="{9D8B030D-6E8A-4147-A177-3AD203B41FA5}">
                      <a16:colId xmlns:a16="http://schemas.microsoft.com/office/drawing/2014/main" val="3669150609"/>
                    </a:ext>
                  </a:extLst>
                </a:gridCol>
                <a:gridCol w="2416582">
                  <a:extLst>
                    <a:ext uri="{9D8B030D-6E8A-4147-A177-3AD203B41FA5}">
                      <a16:colId xmlns:a16="http://schemas.microsoft.com/office/drawing/2014/main" val="892373509"/>
                    </a:ext>
                  </a:extLst>
                </a:gridCol>
                <a:gridCol w="693629">
                  <a:extLst>
                    <a:ext uri="{9D8B030D-6E8A-4147-A177-3AD203B41FA5}">
                      <a16:colId xmlns:a16="http://schemas.microsoft.com/office/drawing/2014/main" val="753614388"/>
                    </a:ext>
                  </a:extLst>
                </a:gridCol>
                <a:gridCol w="2122183">
                  <a:extLst>
                    <a:ext uri="{9D8B030D-6E8A-4147-A177-3AD203B41FA5}">
                      <a16:colId xmlns:a16="http://schemas.microsoft.com/office/drawing/2014/main" val="2740690258"/>
                    </a:ext>
                  </a:extLst>
                </a:gridCol>
              </a:tblGrid>
              <a:tr h="325670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№ ФПУ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НАИМЕНОВАНИЕ УЧЕБНИКА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КЛАССЫ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АВТОРЫ</a:t>
                      </a:r>
                      <a:endParaRPr lang="ru-RU" sz="11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632325"/>
                  </a:ext>
                </a:extLst>
              </a:tr>
              <a:tr h="32325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.1.1.5.1.6.1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сновы православной культуры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в 2 частях)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.Ф.Виноградова, </a:t>
                      </a:r>
                      <a:r>
                        <a:rPr lang="ru-RU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.И.Власенко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.В.Поляков</a:t>
                      </a: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950474"/>
                  </a:ext>
                </a:extLst>
              </a:tr>
              <a:tr h="32325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.1.1.5.1.7.1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сновы исламской культуры 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1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в 2 частях)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.Ф.Виноградова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.И.Власенко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.В. Поляков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301524"/>
                  </a:ext>
                </a:extLst>
              </a:tr>
              <a:tr h="32325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.1.1.5.1.8.1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сновы мировых религиозных культур (в 2 частях)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.Ф.Виноградова,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.И.Власенко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.В.Поляков</a:t>
                      </a: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7341098"/>
                  </a:ext>
                </a:extLst>
              </a:tr>
              <a:tr h="32325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.1.1.5.1.9.1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сновы светской этики (в 2 частях)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.Ф.Виноградова,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.И.Власенко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.В.Поляков</a:t>
                      </a: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998950"/>
                  </a:ext>
                </a:extLst>
              </a:tr>
            </a:tbl>
          </a:graphicData>
        </a:graphic>
      </p:graphicFrame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17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799553" y="41259"/>
            <a:ext cx="9697077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b="1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defRPr>
            </a:lvl1pPr>
          </a:lstStyle>
          <a:p>
            <a:r>
              <a:rPr lang="ru-RU" sz="2000" dirty="0" smtClean="0">
                <a:latin typeface="Calibri" pitchFamily="34" charset="0"/>
                <a:cs typeface="Calibri" pitchFamily="34" charset="0"/>
              </a:rPr>
              <a:t>НАЧАЛЬНОЕ ОБРАЗОВАНИЕ</a:t>
            </a:r>
          </a:p>
          <a:p>
            <a:r>
              <a:rPr lang="ru-RU" sz="2000" dirty="0" smtClean="0">
                <a:latin typeface="Calibri" pitchFamily="34" charset="0"/>
                <a:cs typeface="Calibri" pitchFamily="34" charset="0"/>
              </a:rPr>
              <a:t>Часть</a:t>
            </a:r>
            <a:r>
              <a:rPr lang="ru-RU" sz="2000" dirty="0">
                <a:latin typeface="Calibri" pitchFamily="34" charset="0"/>
                <a:cs typeface="Calibri" pitchFamily="34" charset="0"/>
              </a:rPr>
              <a:t>, формируемая участниками образовательных отношений</a:t>
            </a: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3174551"/>
              </p:ext>
            </p:extLst>
          </p:nvPr>
        </p:nvGraphicFramePr>
        <p:xfrm>
          <a:off x="209550" y="1083444"/>
          <a:ext cx="11639550" cy="4519524"/>
        </p:xfrm>
        <a:graphic>
          <a:graphicData uri="http://schemas.openxmlformats.org/drawingml/2006/table">
            <a:tbl>
              <a:tblPr/>
              <a:tblGrid>
                <a:gridCol w="1897580">
                  <a:extLst>
                    <a:ext uri="{9D8B030D-6E8A-4147-A177-3AD203B41FA5}">
                      <a16:colId xmlns:a16="http://schemas.microsoft.com/office/drawing/2014/main" val="2926919199"/>
                    </a:ext>
                  </a:extLst>
                </a:gridCol>
                <a:gridCol w="1388545">
                  <a:extLst>
                    <a:ext uri="{9D8B030D-6E8A-4147-A177-3AD203B41FA5}">
                      <a16:colId xmlns:a16="http://schemas.microsoft.com/office/drawing/2014/main" val="951857452"/>
                    </a:ext>
                  </a:extLst>
                </a:gridCol>
                <a:gridCol w="1331397">
                  <a:extLst>
                    <a:ext uri="{9D8B030D-6E8A-4147-A177-3AD203B41FA5}">
                      <a16:colId xmlns:a16="http://schemas.microsoft.com/office/drawing/2014/main" val="2813967338"/>
                    </a:ext>
                  </a:extLst>
                </a:gridCol>
                <a:gridCol w="1392619">
                  <a:extLst>
                    <a:ext uri="{9D8B030D-6E8A-4147-A177-3AD203B41FA5}">
                      <a16:colId xmlns:a16="http://schemas.microsoft.com/office/drawing/2014/main" val="2918999174"/>
                    </a:ext>
                  </a:extLst>
                </a:gridCol>
                <a:gridCol w="1432362">
                  <a:extLst>
                    <a:ext uri="{9D8B030D-6E8A-4147-A177-3AD203B41FA5}">
                      <a16:colId xmlns:a16="http://schemas.microsoft.com/office/drawing/2014/main" val="2130443983"/>
                    </a:ext>
                  </a:extLst>
                </a:gridCol>
                <a:gridCol w="1347440">
                  <a:extLst>
                    <a:ext uri="{9D8B030D-6E8A-4147-A177-3AD203B41FA5}">
                      <a16:colId xmlns:a16="http://schemas.microsoft.com/office/drawing/2014/main" val="1804985558"/>
                    </a:ext>
                  </a:extLst>
                </a:gridCol>
                <a:gridCol w="1291685">
                  <a:extLst>
                    <a:ext uri="{9D8B030D-6E8A-4147-A177-3AD203B41FA5}">
                      <a16:colId xmlns:a16="http://schemas.microsoft.com/office/drawing/2014/main" val="528321811"/>
                    </a:ext>
                  </a:extLst>
                </a:gridCol>
                <a:gridCol w="1557922">
                  <a:extLst>
                    <a:ext uri="{9D8B030D-6E8A-4147-A177-3AD203B41FA5}">
                      <a16:colId xmlns:a16="http://schemas.microsoft.com/office/drawing/2014/main" val="714191981"/>
                    </a:ext>
                  </a:extLst>
                </a:gridCol>
              </a:tblGrid>
              <a:tr h="280116">
                <a:tc>
                  <a:txBody>
                    <a:bodyPr/>
                    <a:lstStyle/>
                    <a:p>
                      <a:pPr algn="r" fontAlgn="b"/>
                      <a:endParaRPr lang="ru-RU" sz="1200" b="1" i="0" u="none" strike="noStrike" kern="1200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013" marR="162241" marT="901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Авторы. НАИМЕНОВАНИЕ УЧЕБНИКА</a:t>
                      </a:r>
                    </a:p>
                  </a:txBody>
                  <a:tcPr marL="9013" marR="9013" marT="90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9013" marR="9013" marT="90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013" marR="9013" marT="90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013" marR="9013" marT="90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013" marR="9013" marT="90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013" marR="9013" marT="90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013" marR="9013" marT="901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9651209"/>
                  </a:ext>
                </a:extLst>
              </a:tr>
              <a:tr h="1183987">
                <a:tc>
                  <a:txBody>
                    <a:bodyPr/>
                    <a:lstStyle/>
                    <a:p>
                      <a:pPr algn="r"/>
                      <a:r>
                        <a:rPr lang="ru-RU" sz="1500" b="1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ИНФОРМАТИКА</a:t>
                      </a:r>
                      <a:endParaRPr lang="ru-RU" sz="1500" b="1" i="0" u="none" strike="noStrike" kern="1200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013" marR="162241" marT="9013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noProof="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А.В.Горячев</a:t>
                      </a:r>
                      <a:r>
                        <a:rPr lang="ru-RU" sz="1400" b="0" kern="1200" noProof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400" b="0" kern="1200" noProof="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Д.И.Павлов</a:t>
                      </a:r>
                      <a:r>
                        <a:rPr lang="ru-RU" sz="1400" b="0" kern="1200" noProof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и др. Информатика </a:t>
                      </a:r>
                      <a:endParaRPr lang="en-US" sz="1400" b="0" kern="1200" noProof="0" dirty="0" smtClean="0">
                        <a:solidFill>
                          <a:srgbClr val="00339A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noProof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(2-4)</a:t>
                      </a:r>
                    </a:p>
                  </a:txBody>
                  <a:tcPr marL="72000" marR="9013" marT="9013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Н.В.Матвеева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Е.Н.Челак</a:t>
                      </a:r>
                      <a:r>
                        <a:rPr lang="en-US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и</a:t>
                      </a:r>
                      <a:r>
                        <a:rPr lang="ru-RU" sz="1400" b="0" kern="1200" baseline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 др.</a:t>
                      </a:r>
                      <a:endParaRPr lang="ru-RU" sz="1400" b="0" kern="1200" dirty="0" smtClean="0">
                        <a:solidFill>
                          <a:srgbClr val="00339A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noProof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Информатик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noProof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(2-4)</a:t>
                      </a:r>
                    </a:p>
                  </a:txBody>
                  <a:tcPr marL="72000" marR="9013" marT="9013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А.В.Могилев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М.С.Цветкова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В.Н.Могилева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 Информатик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(3-4)</a:t>
                      </a:r>
                    </a:p>
                  </a:txBody>
                  <a:tcPr marL="72000" marR="9013" marT="9013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М.А.Плаксин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Н.Г.Иванова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О.А.Русакова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. Информатик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(3-4)</a:t>
                      </a:r>
                    </a:p>
                  </a:txBody>
                  <a:tcPr marL="72000" marR="9013" marT="9013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kern="1200" dirty="0" smtClean="0">
                        <a:solidFill>
                          <a:srgbClr val="00339A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А.Л.Семенов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Т.А.Рудченко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 Информатика (3-4)</a:t>
                      </a:r>
                    </a:p>
                  </a:txBody>
                  <a:tcPr marL="72000" marR="9013" marT="9013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kern="1200" dirty="0" smtClean="0">
                        <a:solidFill>
                          <a:srgbClr val="00339A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Т.А.Рудченко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А.Л.Семенов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 Информатика (1- 4)</a:t>
                      </a:r>
                    </a:p>
                  </a:txBody>
                  <a:tcPr marL="72000" marR="9013" marT="9013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kern="1200" dirty="0" smtClean="0">
                        <a:solidFill>
                          <a:srgbClr val="00339A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М.С.Цветкова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, 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Е.В.Якушина</a:t>
                      </a:r>
                      <a:endParaRPr lang="ru-RU" sz="1400" b="0" kern="1200" dirty="0" smtClean="0">
                        <a:solidFill>
                          <a:srgbClr val="00339A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Информационная безопасность (2-4)</a:t>
                      </a:r>
                    </a:p>
                  </a:txBody>
                  <a:tcPr marL="72000" marR="9013" marT="9013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1260720"/>
                  </a:ext>
                </a:extLst>
              </a:tr>
              <a:tr h="759938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ЕХНОЛОГИЯ</a:t>
                      </a:r>
                    </a:p>
                  </a:txBody>
                  <a:tcPr marL="9013" marR="162241" marT="9013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Д.И.Павлов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 , М.Ю. Ревякин, под ред. </a:t>
                      </a: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Л.Л.Босовой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ru-RU" sz="1400" b="0" kern="1200" baseline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Робототехника (1-4)</a:t>
                      </a:r>
                    </a:p>
                  </a:txBody>
                  <a:tcPr marL="72000" marR="9013" marT="9013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9013" marT="9013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9013" marT="9013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9013" marT="9013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9013" marT="9013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9013" marT="9013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9013" marT="9013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59938">
                <a:tc>
                  <a:txBody>
                    <a:bodyPr/>
                    <a:lstStyle/>
                    <a:p>
                      <a:pPr algn="r"/>
                      <a:r>
                        <a:rPr lang="ru-RU" sz="1500" b="1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ИЗОБРАЗИТЕЛЬНОЕ ИСКУССТВО</a:t>
                      </a:r>
                      <a:endParaRPr lang="ru-RU" sz="1500" b="1" i="0" u="none" strike="noStrike" kern="1200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013" marR="162241" marT="9013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Н.Л. Селиванов,</a:t>
                      </a:r>
                      <a:r>
                        <a:rPr lang="ru-RU" sz="1400" b="0" kern="1200" baseline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 Т.В. 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Селиванова.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Искусство. Основы </a:t>
                      </a: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инфографики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 (1-4)</a:t>
                      </a:r>
                    </a:p>
                  </a:txBody>
                  <a:tcPr marL="72000" marR="9013" marT="9013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59938">
                <a:tc>
                  <a:txBody>
                    <a:bodyPr/>
                    <a:lstStyle/>
                    <a:p>
                      <a:pPr algn="r"/>
                      <a:r>
                        <a:rPr lang="ru-RU" sz="1500" b="1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ОКРУЖАЮЩИЙ МИР</a:t>
                      </a:r>
                      <a:endParaRPr lang="ru-RU" sz="1500" b="1" i="0" u="none" strike="noStrike" kern="1200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013" marR="162241" marT="9013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Е.А. Найденова, О.Н. Журавлева и др. Под редакцией В.А. Тишкова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Народы России: дорога дружбы (1-4)</a:t>
                      </a:r>
                    </a:p>
                  </a:txBody>
                  <a:tcPr marL="72000" marR="9013" marT="9013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5607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i="0" u="none" strike="noStrike" kern="120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ЕСТЕСТВОЗНАНИЕ</a:t>
                      </a:r>
                    </a:p>
                  </a:txBody>
                  <a:tcPr marL="9013" marR="162241" marT="9013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Т.В.Шпотова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kern="120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И.Г.Харитонова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ru-RU" sz="1400" b="0" kern="1200" baseline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kern="120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</a:rPr>
                        <a:t>Азбука экологии (1-4)</a:t>
                      </a:r>
                      <a:endParaRPr lang="ru-RU" sz="1400" b="0" kern="1200" dirty="0">
                        <a:solidFill>
                          <a:srgbClr val="00339A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9013" marT="9013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1220766"/>
                  </a:ext>
                </a:extLst>
              </a:tr>
            </a:tbl>
          </a:graphicData>
        </a:graphic>
      </p:graphicFrame>
      <p:pic>
        <p:nvPicPr>
          <p:cNvPr id="47" name="Рисунок 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784" y="2573816"/>
            <a:ext cx="975230" cy="349719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2376" y="3321457"/>
            <a:ext cx="1018614" cy="365277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2564" y="4092234"/>
            <a:ext cx="1018614" cy="365277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0195" y="1387367"/>
            <a:ext cx="1026966" cy="368272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4927" y="1387367"/>
            <a:ext cx="1064803" cy="300057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4993" y="1387367"/>
            <a:ext cx="1114681" cy="314112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2138445" y="6055203"/>
            <a:ext cx="1494537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339A"/>
                </a:solidFill>
              </a:rPr>
              <a:t>в ФПУ</a:t>
            </a:r>
            <a:endParaRPr lang="ru-RU" sz="1400" dirty="0">
              <a:solidFill>
                <a:srgbClr val="00339A"/>
              </a:solidFill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3450" y="4854234"/>
            <a:ext cx="1018614" cy="365277"/>
          </a:xfrm>
          <a:prstGeom prst="rect">
            <a:avLst/>
          </a:prstGeom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434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Блок-схема: альтернативный процесс 3"/>
          <p:cNvSpPr/>
          <p:nvPr/>
        </p:nvSpPr>
        <p:spPr bwMode="auto">
          <a:xfrm>
            <a:off x="276571" y="1605297"/>
            <a:ext cx="1965908" cy="2932301"/>
          </a:xfrm>
          <a:prstGeom prst="flowChartAlternateProcess">
            <a:avLst/>
          </a:prstGeom>
          <a:solidFill>
            <a:schemeClr val="bg1"/>
          </a:solidFill>
          <a:ln w="19049" cap="flat" cmpd="sng" algn="ctr">
            <a:solidFill>
              <a:schemeClr val="accent1">
                <a:shade val="50000"/>
              </a:schemeClr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clip" vert="horz" wrap="square" lIns="91440" tIns="45720" rIns="91440" bIns="45720" numCol="1" spcCol="0" rtlCol="0" fromWordArt="0" anchor="ctr" anchorCtr="0" forceAA="0" compatLnSpc="0"/>
          <a:lstStyle/>
          <a:p>
            <a:pPr>
              <a:defRPr/>
            </a:pPr>
            <a:endParaRPr/>
          </a:p>
        </p:txBody>
      </p:sp>
      <p:sp>
        <p:nvSpPr>
          <p:cNvPr id="5" name="Заголовок 3"/>
          <p:cNvSpPr>
            <a:spLocks noGrp="1"/>
          </p:cNvSpPr>
          <p:nvPr>
            <p:ph type="title"/>
          </p:nvPr>
        </p:nvSpPr>
        <p:spPr bwMode="auto">
          <a:xfrm>
            <a:off x="2000049" y="111996"/>
            <a:ext cx="8877513" cy="633519"/>
          </a:xfrm>
        </p:spPr>
        <p:txBody>
          <a:bodyPr>
            <a:normAutofit/>
          </a:bodyPr>
          <a:lstStyle/>
          <a:p>
            <a:pPr>
              <a:lnSpc>
                <a:spcPts val="416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Когда в ФПУ появятся учебники, соответствующие ФГОС-2021?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lang="ru-RU" sz="1000" dirty="0">
              <a:solidFill>
                <a:schemeClr val="bg1">
                  <a:lumMod val="65000"/>
                </a:schemeClr>
              </a:solidFill>
              <a:cs typeface="Times New Roman"/>
            </a:endParaRPr>
          </a:p>
        </p:txBody>
      </p:sp>
      <p:grpSp>
        <p:nvGrpSpPr>
          <p:cNvPr id="7" name="Группа 10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5"/>
          <p:cNvCxnSpPr>
            <a:cxnSpLocks/>
          </p:cNvCxnSpPr>
          <p:nvPr/>
        </p:nvCxnSpPr>
        <p:spPr bwMode="auto">
          <a:xfrm>
            <a:off x="1753354" y="-2966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Шеврон 22"/>
          <p:cNvSpPr/>
          <p:nvPr/>
        </p:nvSpPr>
        <p:spPr bwMode="auto">
          <a:xfrm>
            <a:off x="2194887" y="2916102"/>
            <a:ext cx="484631" cy="484631"/>
          </a:xfrm>
          <a:prstGeom prst="chevron">
            <a:avLst>
              <a:gd name="adj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4" name="Шеврон 23"/>
          <p:cNvSpPr/>
          <p:nvPr/>
        </p:nvSpPr>
        <p:spPr bwMode="auto">
          <a:xfrm>
            <a:off x="4594370" y="2896732"/>
            <a:ext cx="484630" cy="484630"/>
          </a:xfrm>
          <a:prstGeom prst="chevron">
            <a:avLst>
              <a:gd name="adj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5" name="Шеврон 24"/>
          <p:cNvSpPr/>
          <p:nvPr/>
        </p:nvSpPr>
        <p:spPr bwMode="auto">
          <a:xfrm>
            <a:off x="7047036" y="2886640"/>
            <a:ext cx="484630" cy="484630"/>
          </a:xfrm>
          <a:prstGeom prst="chevron">
            <a:avLst>
              <a:gd name="adj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6" name="Блок-схема: альтернативный процесс 25"/>
          <p:cNvSpPr/>
          <p:nvPr/>
        </p:nvSpPr>
        <p:spPr bwMode="auto">
          <a:xfrm>
            <a:off x="2752551" y="1605297"/>
            <a:ext cx="1910079" cy="2932301"/>
          </a:xfrm>
          <a:prstGeom prst="flowChartAlternateProcess">
            <a:avLst/>
          </a:prstGeom>
          <a:solidFill>
            <a:schemeClr val="bg1"/>
          </a:solidFill>
          <a:ln w="19049" cap="flat" cmpd="sng" algn="ctr">
            <a:solidFill>
              <a:schemeClr val="accent1">
                <a:shade val="50000"/>
              </a:schemeClr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clip" vert="horz" wrap="square" lIns="91440" tIns="45720" rIns="91440" bIns="45720" numCol="1" spcCol="0" rtlCol="0" fromWordArt="0" anchor="ctr" anchorCtr="0" forceAA="0" compatLnSpc="0"/>
          <a:lstStyle/>
          <a:p>
            <a:pPr>
              <a:defRPr/>
            </a:pPr>
            <a:endParaRPr/>
          </a:p>
        </p:txBody>
      </p:sp>
      <p:sp>
        <p:nvSpPr>
          <p:cNvPr id="27" name="Блок-схема: альтернативный процесс 26"/>
          <p:cNvSpPr/>
          <p:nvPr/>
        </p:nvSpPr>
        <p:spPr bwMode="auto">
          <a:xfrm>
            <a:off x="7634157" y="1529542"/>
            <a:ext cx="1882397" cy="3008057"/>
          </a:xfrm>
          <a:prstGeom prst="flowChartAlternateProcess">
            <a:avLst/>
          </a:prstGeom>
          <a:solidFill>
            <a:schemeClr val="bg1"/>
          </a:solidFill>
          <a:ln w="19049" cap="flat" cmpd="sng" algn="ctr">
            <a:solidFill>
              <a:schemeClr val="accent1">
                <a:shade val="50000"/>
              </a:schemeClr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clip" vert="horz" wrap="square" lIns="91440" tIns="45720" rIns="91440" bIns="45720" numCol="1" spcCol="0" rtlCol="0" fromWordArt="0" anchor="ctr" anchorCtr="0" forceAA="0" compatLnSpc="0"/>
          <a:lstStyle/>
          <a:p>
            <a:pPr>
              <a:defRPr/>
            </a:pPr>
            <a:endParaRPr/>
          </a:p>
        </p:txBody>
      </p:sp>
      <p:sp>
        <p:nvSpPr>
          <p:cNvPr id="28" name="Блок-схема: альтернативный процесс 27"/>
          <p:cNvSpPr/>
          <p:nvPr/>
        </p:nvSpPr>
        <p:spPr bwMode="auto">
          <a:xfrm>
            <a:off x="10111821" y="1493011"/>
            <a:ext cx="1767404" cy="3044589"/>
          </a:xfrm>
          <a:prstGeom prst="flowChartAlternateProcess">
            <a:avLst/>
          </a:prstGeom>
          <a:solidFill>
            <a:schemeClr val="bg1"/>
          </a:solidFill>
          <a:ln w="19049" cap="flat" cmpd="sng" algn="ctr">
            <a:solidFill>
              <a:schemeClr val="accent1">
                <a:shade val="50000"/>
              </a:schemeClr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clip" vert="horz" wrap="square" lIns="91440" tIns="45720" rIns="91440" bIns="45720" numCol="1" spcCol="0" rtlCol="0" fromWordArt="0" anchor="ctr" anchorCtr="0" forceAA="0" compatLnSpc="0"/>
          <a:lstStyle/>
          <a:p>
            <a:pPr>
              <a:defRPr/>
            </a:pPr>
            <a:endParaRPr/>
          </a:p>
        </p:txBody>
      </p:sp>
      <p:sp>
        <p:nvSpPr>
          <p:cNvPr id="29" name="Блок-схема: альтернативный процесс 28"/>
          <p:cNvSpPr/>
          <p:nvPr/>
        </p:nvSpPr>
        <p:spPr bwMode="auto">
          <a:xfrm>
            <a:off x="5173472" y="1568273"/>
            <a:ext cx="1871749" cy="2969325"/>
          </a:xfrm>
          <a:prstGeom prst="flowChartAlternateProcess">
            <a:avLst/>
          </a:prstGeom>
          <a:solidFill>
            <a:schemeClr val="bg1"/>
          </a:solidFill>
          <a:ln w="19049" cap="flat" cmpd="sng" algn="ctr">
            <a:solidFill>
              <a:schemeClr val="accent1">
                <a:shade val="50000"/>
              </a:schemeClr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clip" vert="horz" wrap="square" lIns="91440" tIns="45720" rIns="91440" bIns="45720" numCol="1" spcCol="0" rtlCol="0" fromWordArt="0" anchor="ctr" anchorCtr="0" forceAA="0" compatLnSpc="0"/>
          <a:lstStyle/>
          <a:p>
            <a:pPr>
              <a:defRPr/>
            </a:pPr>
            <a:endParaRPr/>
          </a:p>
        </p:txBody>
      </p:sp>
      <p:sp>
        <p:nvSpPr>
          <p:cNvPr id="30" name="Шеврон 29"/>
          <p:cNvSpPr/>
          <p:nvPr/>
        </p:nvSpPr>
        <p:spPr bwMode="auto">
          <a:xfrm>
            <a:off x="9516555" y="2862956"/>
            <a:ext cx="484630" cy="484630"/>
          </a:xfrm>
          <a:prstGeom prst="chevron">
            <a:avLst>
              <a:gd name="adj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1342270" y="1836964"/>
            <a:ext cx="914400" cy="365795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spAutoFit/>
          </a:bodyPr>
          <a:lstStyle/>
          <a:p>
            <a:pPr>
              <a:defRPr/>
            </a:pPr>
            <a:endParaRPr/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357751" y="1697554"/>
            <a:ext cx="1835321" cy="2584315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 algn="ctr">
              <a:defRPr/>
            </a:pPr>
            <a:r>
              <a:rPr sz="1200" dirty="0" err="1"/>
              <a:t>Приказы</a:t>
            </a:r>
            <a:r>
              <a:rPr sz="1200" dirty="0"/>
              <a:t> </a:t>
            </a:r>
            <a:r>
              <a:rPr sz="1200" dirty="0" err="1"/>
              <a:t>Министерства</a:t>
            </a:r>
            <a:r>
              <a:rPr sz="1200" dirty="0"/>
              <a:t> </a:t>
            </a:r>
            <a:r>
              <a:rPr sz="1200" dirty="0" err="1"/>
              <a:t>просвещения</a:t>
            </a:r>
            <a:r>
              <a:rPr sz="1200" dirty="0"/>
              <a:t> РФ </a:t>
            </a:r>
            <a:r>
              <a:rPr sz="1200" dirty="0" err="1"/>
              <a:t>от</a:t>
            </a:r>
            <a:r>
              <a:rPr sz="1200" dirty="0"/>
              <a:t> 31.05.2021 № 286, № 287 </a:t>
            </a:r>
          </a:p>
          <a:p>
            <a:pPr algn="ctr">
              <a:defRPr/>
            </a:pPr>
            <a:r>
              <a:rPr sz="1200" dirty="0" err="1"/>
              <a:t>Об</a:t>
            </a:r>
            <a:r>
              <a:rPr sz="1200" dirty="0"/>
              <a:t> </a:t>
            </a:r>
            <a:r>
              <a:rPr sz="1200" dirty="0" err="1"/>
              <a:t>утверждении</a:t>
            </a:r>
            <a:r>
              <a:rPr sz="1200" dirty="0"/>
              <a:t> </a:t>
            </a:r>
            <a:r>
              <a:rPr sz="1200" dirty="0" err="1"/>
              <a:t>федеральных</a:t>
            </a:r>
            <a:r>
              <a:rPr sz="1200" dirty="0"/>
              <a:t> </a:t>
            </a:r>
            <a:r>
              <a:rPr sz="1200" dirty="0" err="1"/>
              <a:t>государственных</a:t>
            </a:r>
            <a:r>
              <a:rPr sz="1200" dirty="0"/>
              <a:t> </a:t>
            </a:r>
            <a:r>
              <a:rPr sz="1200" dirty="0" err="1"/>
              <a:t>образовательных</a:t>
            </a:r>
            <a:r>
              <a:rPr sz="1200" dirty="0"/>
              <a:t> </a:t>
            </a:r>
            <a:r>
              <a:rPr sz="1200" dirty="0" err="1"/>
              <a:t>стандартов</a:t>
            </a:r>
            <a:r>
              <a:rPr sz="1200" dirty="0"/>
              <a:t> </a:t>
            </a:r>
            <a:r>
              <a:rPr sz="1200" dirty="0" err="1"/>
              <a:t>начального</a:t>
            </a:r>
            <a:r>
              <a:rPr sz="1200" dirty="0"/>
              <a:t> и </a:t>
            </a:r>
            <a:r>
              <a:rPr sz="1200" dirty="0" err="1"/>
              <a:t>основного</a:t>
            </a:r>
            <a:r>
              <a:rPr sz="1200" dirty="0"/>
              <a:t> </a:t>
            </a:r>
            <a:r>
              <a:rPr sz="1200" dirty="0" err="1"/>
              <a:t>общего</a:t>
            </a:r>
            <a:r>
              <a:rPr sz="1200" dirty="0"/>
              <a:t> </a:t>
            </a:r>
            <a:r>
              <a:rPr sz="1200" dirty="0" err="1"/>
              <a:t>образования</a:t>
            </a:r>
            <a:r>
              <a:rPr sz="1200" dirty="0"/>
              <a:t>   </a:t>
            </a:r>
            <a:endParaRPr lang="ru-RU" sz="1200" dirty="0" smtClean="0"/>
          </a:p>
          <a:p>
            <a:pPr algn="ctr">
              <a:defRPr/>
            </a:pPr>
            <a:endParaRPr lang="ru-RU" sz="1200" dirty="0"/>
          </a:p>
          <a:p>
            <a:pPr algn="ctr">
              <a:defRPr/>
            </a:pPr>
            <a:r>
              <a:rPr lang="en-US" sz="1200" dirty="0">
                <a:hlinkClick r:id="rId2"/>
              </a:rPr>
              <a:t>http://</a:t>
            </a:r>
            <a:r>
              <a:rPr lang="en-US" sz="1200" dirty="0" smtClean="0">
                <a:hlinkClick r:id="rId2"/>
              </a:rPr>
              <a:t>publication.pravo.gov.ru/Document/View/0001202107050028</a:t>
            </a:r>
            <a:r>
              <a:rPr lang="ru-RU" sz="1200" dirty="0" smtClean="0"/>
              <a:t> </a:t>
            </a:r>
            <a:endParaRPr sz="1200" dirty="0"/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2841825" y="2032916"/>
            <a:ext cx="1658707" cy="2076988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 algn="ctr">
              <a:defRPr/>
            </a:pPr>
            <a:r>
              <a:rPr sz="1200" dirty="0" err="1"/>
              <a:t>Протокол</a:t>
            </a:r>
            <a:r>
              <a:rPr sz="1200" dirty="0"/>
              <a:t> ФУМО </a:t>
            </a:r>
            <a:r>
              <a:rPr sz="1200" dirty="0" err="1"/>
              <a:t>по</a:t>
            </a:r>
            <a:r>
              <a:rPr sz="1200" dirty="0"/>
              <a:t> </a:t>
            </a:r>
            <a:r>
              <a:rPr sz="1200" dirty="0" err="1"/>
              <a:t>общему</a:t>
            </a:r>
            <a:r>
              <a:rPr sz="1200" dirty="0"/>
              <a:t> </a:t>
            </a:r>
            <a:r>
              <a:rPr sz="1200" dirty="0" err="1"/>
              <a:t>образованию</a:t>
            </a:r>
            <a:r>
              <a:rPr sz="1200" dirty="0"/>
              <a:t> № 3/21 </a:t>
            </a:r>
            <a:r>
              <a:rPr sz="1200" dirty="0" err="1"/>
              <a:t>от</a:t>
            </a:r>
            <a:r>
              <a:rPr sz="1200" dirty="0"/>
              <a:t> 27.09.2021  </a:t>
            </a:r>
          </a:p>
          <a:p>
            <a:pPr algn="ctr">
              <a:defRPr/>
            </a:pPr>
            <a:r>
              <a:rPr sz="1200" dirty="0" err="1"/>
              <a:t>Одобрены</a:t>
            </a:r>
            <a:r>
              <a:rPr sz="1200" dirty="0"/>
              <a:t> </a:t>
            </a:r>
            <a:r>
              <a:rPr sz="1200" dirty="0" err="1"/>
              <a:t>примерные</a:t>
            </a:r>
            <a:r>
              <a:rPr sz="1200" dirty="0"/>
              <a:t> </a:t>
            </a:r>
            <a:r>
              <a:rPr sz="1200" dirty="0" err="1"/>
              <a:t>рабочие</a:t>
            </a:r>
            <a:r>
              <a:rPr sz="1200" dirty="0"/>
              <a:t> </a:t>
            </a:r>
            <a:r>
              <a:rPr sz="1200" dirty="0" err="1"/>
              <a:t>программы</a:t>
            </a:r>
            <a:r>
              <a:rPr sz="1200" dirty="0"/>
              <a:t> </a:t>
            </a:r>
            <a:r>
              <a:rPr sz="1200" dirty="0" err="1"/>
              <a:t>начального</a:t>
            </a:r>
            <a:r>
              <a:rPr sz="1200" dirty="0"/>
              <a:t> и </a:t>
            </a:r>
            <a:r>
              <a:rPr sz="1200" dirty="0" err="1"/>
              <a:t>основного</a:t>
            </a:r>
            <a:r>
              <a:rPr sz="1200" dirty="0"/>
              <a:t> </a:t>
            </a:r>
            <a:r>
              <a:rPr sz="1200" dirty="0" err="1"/>
              <a:t>общего</a:t>
            </a:r>
            <a:r>
              <a:rPr sz="1200" dirty="0"/>
              <a:t> </a:t>
            </a:r>
            <a:r>
              <a:rPr sz="1200" dirty="0" err="1"/>
              <a:t>образования</a:t>
            </a:r>
            <a:r>
              <a:rPr sz="1200" dirty="0"/>
              <a:t>   </a:t>
            </a:r>
            <a:endParaRPr lang="en-US" sz="1200" dirty="0" smtClean="0"/>
          </a:p>
          <a:p>
            <a:pPr algn="ctr">
              <a:defRPr/>
            </a:pPr>
            <a:endParaRPr lang="en-US" sz="1200" dirty="0"/>
          </a:p>
          <a:p>
            <a:pPr algn="ctr">
              <a:defRPr/>
            </a:pPr>
            <a:endParaRPr lang="ru-RU" sz="1200" dirty="0" smtClean="0">
              <a:hlinkClick r:id="rId3"/>
            </a:endParaRPr>
          </a:p>
          <a:p>
            <a:pPr algn="ctr">
              <a:defRPr/>
            </a:pPr>
            <a:r>
              <a:rPr lang="en-US" sz="1200" dirty="0" smtClean="0">
                <a:hlinkClick r:id="rId3"/>
              </a:rPr>
              <a:t>https</a:t>
            </a:r>
            <a:r>
              <a:rPr lang="en-US" sz="1200" dirty="0">
                <a:hlinkClick r:id="rId3"/>
              </a:rPr>
              <a:t>://edsoo.ru</a:t>
            </a:r>
            <a:r>
              <a:rPr lang="en-US" sz="1200" dirty="0" smtClean="0">
                <a:hlinkClick r:id="rId3"/>
              </a:rPr>
              <a:t>/</a:t>
            </a:r>
            <a:r>
              <a:rPr lang="en-US" sz="1200" dirty="0" smtClean="0"/>
              <a:t> </a:t>
            </a:r>
            <a:r>
              <a:rPr sz="1200" dirty="0" smtClean="0"/>
              <a:t>  </a:t>
            </a:r>
            <a:endParaRPr sz="1200" dirty="0"/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5147470" y="2067514"/>
            <a:ext cx="1825421" cy="1743643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 algn="ctr">
              <a:defRPr/>
            </a:pPr>
            <a:r>
              <a:rPr lang="ru-RU" sz="1200" b="0" i="0" u="none" strike="noStrike" cap="none" spc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иказ Министерства просвещения РФ от 12.11.2021  № 819</a:t>
            </a:r>
            <a:endParaRPr sz="1200" dirty="0"/>
          </a:p>
          <a:p>
            <a:pPr algn="ctr">
              <a:defRPr/>
            </a:pPr>
            <a:r>
              <a:rPr lang="ru-RU" sz="1200" b="0" i="0" u="none" strike="noStrike" cap="none" spc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б утверждении Порядка формирования федерального перечня учебников </a:t>
            </a:r>
            <a:endParaRPr lang="ru-RU" sz="1200" b="0" i="0" u="none" strike="noStrike" cap="none" spc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ctr">
              <a:defRPr/>
            </a:pPr>
            <a:endParaRPr lang="ru-RU" sz="1200" dirty="0" smtClean="0"/>
          </a:p>
          <a:p>
            <a:pPr algn="ctr">
              <a:defRPr/>
            </a:pPr>
            <a:endParaRPr lang="ru-RU" sz="1200" dirty="0" smtClean="0"/>
          </a:p>
          <a:p>
            <a:pPr algn="ctr">
              <a:defRPr/>
            </a:pPr>
            <a:r>
              <a:rPr lang="en-US" sz="1200" dirty="0">
                <a:hlinkClick r:id="rId4"/>
              </a:rPr>
              <a:t>http://</a:t>
            </a:r>
            <a:r>
              <a:rPr lang="en-US" sz="1200" dirty="0" smtClean="0">
                <a:hlinkClick r:id="rId4"/>
              </a:rPr>
              <a:t>publication.pravo.gov.ru/Document/View/0001202112130035</a:t>
            </a:r>
            <a:endParaRPr lang="ru-RU" sz="1200" dirty="0" smtClean="0"/>
          </a:p>
          <a:p>
            <a:pPr algn="ctr">
              <a:defRPr/>
            </a:pPr>
            <a:endParaRPr sz="1200" dirty="0"/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7776421" y="1295209"/>
            <a:ext cx="1875840" cy="2286034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 algn="ctr">
              <a:defRPr/>
            </a:pPr>
            <a:r>
              <a:rPr sz="1200"/>
              <a:t>   </a:t>
            </a: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10075330" y="2058643"/>
            <a:ext cx="1658707" cy="1064134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 algn="ctr">
              <a:defRPr/>
            </a:pPr>
            <a:r>
              <a:rPr sz="1200" dirty="0" err="1"/>
              <a:t>Приказ</a:t>
            </a:r>
            <a:r>
              <a:rPr sz="1200" dirty="0"/>
              <a:t> </a:t>
            </a:r>
            <a:r>
              <a:rPr sz="1200" dirty="0" err="1"/>
              <a:t>Министерства</a:t>
            </a:r>
            <a:r>
              <a:rPr sz="1200" dirty="0"/>
              <a:t> </a:t>
            </a:r>
            <a:r>
              <a:rPr sz="1200" dirty="0" err="1"/>
              <a:t>просвещения</a:t>
            </a:r>
            <a:r>
              <a:rPr sz="1200" dirty="0"/>
              <a:t> РФ</a:t>
            </a:r>
          </a:p>
          <a:p>
            <a:pPr algn="ctr">
              <a:defRPr/>
            </a:pPr>
            <a:r>
              <a:rPr sz="1200" dirty="0" err="1"/>
              <a:t>Об</a:t>
            </a:r>
            <a:r>
              <a:rPr sz="1200" dirty="0"/>
              <a:t> </a:t>
            </a:r>
            <a:r>
              <a:rPr sz="1200" dirty="0" err="1"/>
              <a:t>утверждении</a:t>
            </a:r>
            <a:r>
              <a:rPr sz="1200" dirty="0"/>
              <a:t> </a:t>
            </a:r>
            <a:r>
              <a:rPr sz="1200" dirty="0" err="1"/>
              <a:t>федерального</a:t>
            </a:r>
            <a:r>
              <a:rPr sz="1200" dirty="0"/>
              <a:t> </a:t>
            </a:r>
            <a:r>
              <a:rPr sz="1200" dirty="0" err="1"/>
              <a:t>перечня</a:t>
            </a:r>
            <a:r>
              <a:rPr sz="1200" dirty="0"/>
              <a:t> </a:t>
            </a:r>
            <a:r>
              <a:rPr sz="1200" dirty="0" err="1"/>
              <a:t>учебников</a:t>
            </a:r>
            <a:r>
              <a:rPr sz="1200" dirty="0"/>
              <a:t>    </a:t>
            </a:r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623426" y="4559886"/>
            <a:ext cx="1176044" cy="369336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>
              <a:defRPr/>
            </a:pPr>
            <a:r>
              <a:rPr sz="1600" dirty="0" err="1"/>
              <a:t>май</a:t>
            </a:r>
            <a:r>
              <a:rPr sz="1600" dirty="0"/>
              <a:t>, 2021</a:t>
            </a:r>
          </a:p>
        </p:txBody>
      </p:sp>
      <p:sp>
        <p:nvSpPr>
          <p:cNvPr id="38" name="Прямоугольник 37"/>
          <p:cNvSpPr/>
          <p:nvPr/>
        </p:nvSpPr>
        <p:spPr bwMode="auto">
          <a:xfrm>
            <a:off x="2964113" y="4537600"/>
            <a:ext cx="1509668" cy="369335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>
              <a:defRPr/>
            </a:pPr>
            <a:r>
              <a:rPr sz="1600" dirty="0" err="1"/>
              <a:t>сентябрь</a:t>
            </a:r>
            <a:r>
              <a:rPr sz="1600" dirty="0"/>
              <a:t>, 2021</a:t>
            </a:r>
          </a:p>
        </p:txBody>
      </p:sp>
      <p:sp>
        <p:nvSpPr>
          <p:cNvPr id="39" name="Прямоугольник 38"/>
          <p:cNvSpPr/>
          <p:nvPr/>
        </p:nvSpPr>
        <p:spPr bwMode="auto">
          <a:xfrm>
            <a:off x="5347122" y="4594862"/>
            <a:ext cx="1405381" cy="369335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>
              <a:defRPr/>
            </a:pPr>
            <a:r>
              <a:rPr sz="1600" dirty="0" err="1"/>
              <a:t>ноябрь</a:t>
            </a:r>
            <a:r>
              <a:rPr sz="1600" dirty="0"/>
              <a:t>, 2021</a:t>
            </a:r>
          </a:p>
        </p:txBody>
      </p:sp>
      <p:sp>
        <p:nvSpPr>
          <p:cNvPr id="40" name="Прямоугольник 39"/>
          <p:cNvSpPr/>
          <p:nvPr/>
        </p:nvSpPr>
        <p:spPr bwMode="auto">
          <a:xfrm>
            <a:off x="7635613" y="2201514"/>
            <a:ext cx="1658707" cy="1064134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 algn="ctr">
              <a:defRPr/>
            </a:pPr>
            <a:r>
              <a:rPr lang="ru-RU" sz="1200" dirty="0" smtClean="0"/>
              <a:t>Государственная</a:t>
            </a:r>
            <a:endParaRPr lang="ru-RU" sz="1200" dirty="0"/>
          </a:p>
          <a:p>
            <a:pPr algn="ctr">
              <a:defRPr/>
            </a:pPr>
            <a:r>
              <a:rPr sz="1200" dirty="0" err="1" smtClean="0"/>
              <a:t>экспертиза</a:t>
            </a:r>
            <a:r>
              <a:rPr sz="1200" dirty="0" smtClean="0"/>
              <a:t> </a:t>
            </a:r>
            <a:r>
              <a:rPr sz="1200" dirty="0" err="1" smtClean="0"/>
              <a:t>обновлённых</a:t>
            </a:r>
            <a:r>
              <a:rPr sz="1200" dirty="0" smtClean="0"/>
              <a:t> </a:t>
            </a:r>
            <a:r>
              <a:rPr sz="1200" dirty="0" err="1" smtClean="0"/>
              <a:t>учебников</a:t>
            </a:r>
            <a:r>
              <a:rPr sz="1200" dirty="0" smtClean="0"/>
              <a:t>   </a:t>
            </a:r>
            <a:endParaRPr lang="ru-RU" sz="1200" dirty="0" smtClean="0"/>
          </a:p>
          <a:p>
            <a:pPr algn="ctr">
              <a:defRPr/>
            </a:pPr>
            <a:r>
              <a:rPr lang="ru-RU" sz="1200" dirty="0" smtClean="0"/>
              <a:t>(новый порядок формирования ФПУ)</a:t>
            </a:r>
            <a:r>
              <a:rPr sz="1200" dirty="0" smtClean="0"/>
              <a:t> </a:t>
            </a:r>
            <a:endParaRPr sz="1200" dirty="0"/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10219296" y="4554833"/>
            <a:ext cx="1700893" cy="369335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>
              <a:defRPr/>
            </a:pPr>
            <a:r>
              <a:rPr lang="ru-RU" sz="1600" dirty="0" smtClean="0"/>
              <a:t>3-</a:t>
            </a:r>
            <a:r>
              <a:rPr sz="1600" dirty="0" smtClean="0"/>
              <a:t>4 </a:t>
            </a:r>
            <a:r>
              <a:rPr sz="1600" dirty="0" err="1"/>
              <a:t>квартал</a:t>
            </a:r>
            <a:r>
              <a:rPr sz="1600" dirty="0"/>
              <a:t> 2022</a:t>
            </a:r>
          </a:p>
        </p:txBody>
      </p:sp>
      <p:sp>
        <p:nvSpPr>
          <p:cNvPr id="47" name="Прямоугольник 46"/>
          <p:cNvSpPr/>
          <p:nvPr/>
        </p:nvSpPr>
        <p:spPr bwMode="auto">
          <a:xfrm>
            <a:off x="7686020" y="4619896"/>
            <a:ext cx="1864292" cy="369335"/>
          </a:xfrm>
          <a:prstGeom prst="rect">
            <a:avLst/>
          </a:prstGeom>
          <a:noFill/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Autofit/>
          </a:bodyPr>
          <a:lstStyle/>
          <a:p>
            <a:pPr>
              <a:defRPr/>
            </a:pPr>
            <a:r>
              <a:rPr lang="ru-RU" sz="1600" dirty="0" smtClean="0"/>
              <a:t>2-3</a:t>
            </a:r>
            <a:r>
              <a:rPr sz="1600" dirty="0" smtClean="0"/>
              <a:t> </a:t>
            </a:r>
            <a:r>
              <a:rPr sz="1600" dirty="0" err="1" smtClean="0"/>
              <a:t>квартал</a:t>
            </a:r>
            <a:r>
              <a:rPr sz="1600" dirty="0" smtClean="0"/>
              <a:t> </a:t>
            </a:r>
            <a:r>
              <a:rPr sz="1600" dirty="0"/>
              <a:t>2022</a:t>
            </a:r>
          </a:p>
        </p:txBody>
      </p:sp>
      <p:sp>
        <p:nvSpPr>
          <p:cNvPr id="44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091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93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32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2" y="1"/>
            <a:ext cx="158751" cy="15875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spcBef>
                <a:spcPct val="0"/>
              </a:spcBef>
              <a:spcAft>
                <a:spcPct val="0"/>
              </a:spcAft>
              <a:defRPr/>
            </a:pPr>
            <a:endParaRPr lang="ru-RU" sz="1400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44860" y="2030591"/>
            <a:ext cx="170648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dirty="0" smtClean="0">
                <a:ea typeface="Open Sans" pitchFamily="34" charset="0"/>
                <a:cs typeface="Open Sans" pitchFamily="34" charset="0"/>
              </a:rPr>
              <a:t>Применение </a:t>
            </a:r>
            <a:r>
              <a:rPr lang="ru-RU" sz="1200" dirty="0">
                <a:ea typeface="Open Sans" pitchFamily="34" charset="0"/>
                <a:cs typeface="Open Sans" pitchFamily="34" charset="0"/>
              </a:rPr>
              <a:t>на практике культуры информационной </a:t>
            </a:r>
            <a:r>
              <a:rPr lang="ru-RU" sz="1200" dirty="0" smtClean="0">
                <a:ea typeface="Open Sans" pitchFamily="34" charset="0"/>
                <a:cs typeface="Open Sans" pitchFamily="34" charset="0"/>
              </a:rPr>
              <a:t>безопасности</a:t>
            </a:r>
            <a:endParaRPr lang="ru-RU" sz="1200" dirty="0"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1859172" y="200767"/>
            <a:ext cx="73560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ИНФОРМАТИКА. ТЕХНОЛОГИЯ. ИСКУССТВО – </a:t>
            </a:r>
            <a:r>
              <a:rPr lang="ru-RU" sz="2000" b="1" dirty="0" smtClean="0">
                <a:solidFill>
                  <a:srgbClr val="FF6699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НОВИНКИ ФПУ</a:t>
            </a:r>
            <a:endParaRPr lang="ru-RU" sz="2000" b="1" dirty="0">
              <a:solidFill>
                <a:srgbClr val="FF6699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24" y="1895667"/>
            <a:ext cx="1527336" cy="19887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44" name="Таблица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9184569"/>
              </p:ext>
            </p:extLst>
          </p:nvPr>
        </p:nvGraphicFramePr>
        <p:xfrm>
          <a:off x="1604321" y="4935393"/>
          <a:ext cx="6830876" cy="14848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8726">
                  <a:extLst>
                    <a:ext uri="{9D8B030D-6E8A-4147-A177-3AD203B41FA5}">
                      <a16:colId xmlns:a16="http://schemas.microsoft.com/office/drawing/2014/main" val="3669150609"/>
                    </a:ext>
                  </a:extLst>
                </a:gridCol>
                <a:gridCol w="2266950">
                  <a:extLst>
                    <a:ext uri="{9D8B030D-6E8A-4147-A177-3AD203B41FA5}">
                      <a16:colId xmlns:a16="http://schemas.microsoft.com/office/drawing/2014/main" val="892373509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753614388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740690258"/>
                    </a:ext>
                  </a:extLst>
                </a:gridCol>
              </a:tblGrid>
              <a:tr h="312882"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№ ФПУ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НАИМЕНОВАНИЕ УЧЕБНИК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КЛАССЫ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АВТОРЫ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632325"/>
                  </a:ext>
                </a:extLst>
              </a:tr>
              <a:tr h="398966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.1.3.2.3.1 </a:t>
                      </a:r>
                      <a:endParaRPr lang="ru-RU" sz="11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51435" marR="51435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формационная безопасность.   Правила безопасного 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тернет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С.Цветкова,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.В.Якушин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950474"/>
                  </a:ext>
                </a:extLst>
              </a:tr>
              <a:tr h="39896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.1.7.1.13.1</a:t>
                      </a:r>
                    </a:p>
                  </a:txBody>
                  <a:tcPr marL="51435" marR="51435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бототехника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в 4</a:t>
                      </a:r>
                      <a:r>
                        <a:rPr lang="ru-RU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астях)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-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.И.Павлов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.Ю.Ревякин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 ред. </a:t>
                      </a:r>
                      <a:r>
                        <a:rPr lang="ru-RU" sz="11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.Л.Босовой</a:t>
                      </a: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857527"/>
                  </a:ext>
                </a:extLst>
              </a:tr>
              <a:tr h="374036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effectLst/>
                          <a:latin typeface="+mn-lt"/>
                        </a:rPr>
                        <a:t>1.1.1.</a:t>
                      </a:r>
                      <a:r>
                        <a:rPr lang="en-US" sz="1100" b="0" i="0" u="none" strike="noStrike" dirty="0" smtClean="0">
                          <a:effectLst/>
                          <a:latin typeface="+mn-lt"/>
                        </a:rPr>
                        <a:t>6</a:t>
                      </a:r>
                      <a:r>
                        <a:rPr lang="ru-RU" sz="1100" b="0" i="0" u="none" strike="noStrike" dirty="0" smtClean="0">
                          <a:effectLst/>
                          <a:latin typeface="+mn-lt"/>
                        </a:rPr>
                        <a:t>.1.1</a:t>
                      </a:r>
                      <a:r>
                        <a:rPr lang="en-US" sz="1100" b="0" i="0" u="none" strike="noStrike" dirty="0" smtClean="0">
                          <a:effectLst/>
                          <a:latin typeface="+mn-lt"/>
                        </a:rPr>
                        <a:t>1</a:t>
                      </a:r>
                      <a:r>
                        <a:rPr lang="ru-RU" sz="1100" b="0" i="0" u="none" strike="noStrike" dirty="0" smtClean="0">
                          <a:effectLst/>
                          <a:latin typeface="+mn-lt"/>
                        </a:rPr>
                        <a:t>.1</a:t>
                      </a:r>
                      <a:endParaRPr lang="ru-RU" sz="1100" b="0" i="0" u="none" strike="noStrike" dirty="0">
                        <a:effectLst/>
                        <a:latin typeface="+mn-lt"/>
                      </a:endParaRP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скусство. Основы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фографики</a:t>
                      </a:r>
                      <a:endParaRPr lang="ru-RU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.Л. Селиванов,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.В.Селиванова</a:t>
                      </a:r>
                      <a:endParaRPr lang="ru-RU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7250210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9965" y="903190"/>
            <a:ext cx="356744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b="1" dirty="0" err="1" smtClean="0">
                <a:solidFill>
                  <a:srgbClr val="000099"/>
                </a:solidFill>
              </a:rPr>
              <a:t>М.С.Цветкова,Е.В.Якушина</a:t>
            </a:r>
            <a:r>
              <a:rPr lang="ru-RU" b="1" dirty="0" smtClean="0">
                <a:solidFill>
                  <a:srgbClr val="000099"/>
                </a:solidFill>
              </a:rPr>
              <a:t> </a:t>
            </a:r>
          </a:p>
          <a:p>
            <a:pPr fontAlgn="ctr"/>
            <a:r>
              <a:rPr lang="ru-RU" b="1" dirty="0" smtClean="0">
                <a:solidFill>
                  <a:srgbClr val="000099"/>
                </a:solidFill>
              </a:rPr>
              <a:t>Информационная безопасность (2-4)</a:t>
            </a:r>
            <a:endParaRPr lang="ru-RU" b="1" dirty="0">
              <a:solidFill>
                <a:srgbClr val="000099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776769" y="974461"/>
            <a:ext cx="35206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0099"/>
                </a:solidFill>
              </a:rPr>
              <a:t>Под </a:t>
            </a:r>
            <a:r>
              <a:rPr lang="ru-RU" b="1" dirty="0">
                <a:solidFill>
                  <a:srgbClr val="000099"/>
                </a:solidFill>
              </a:rPr>
              <a:t>редакцией </a:t>
            </a:r>
            <a:r>
              <a:rPr lang="ru-RU" b="1" dirty="0" err="1" smtClean="0">
                <a:solidFill>
                  <a:srgbClr val="000099"/>
                </a:solidFill>
              </a:rPr>
              <a:t>Л.Л.Босовой</a:t>
            </a:r>
            <a:r>
              <a:rPr lang="ru-RU" b="1" dirty="0" smtClean="0">
                <a:solidFill>
                  <a:srgbClr val="000099"/>
                </a:solidFill>
              </a:rPr>
              <a:t> </a:t>
            </a:r>
          </a:p>
          <a:p>
            <a:r>
              <a:rPr lang="ru-RU" b="1" dirty="0" smtClean="0">
                <a:solidFill>
                  <a:srgbClr val="000099"/>
                </a:solidFill>
              </a:rPr>
              <a:t>Робототехника (2-4)</a:t>
            </a:r>
            <a:endParaRPr lang="ru-RU" dirty="0">
              <a:solidFill>
                <a:srgbClr val="000099"/>
              </a:solidFill>
            </a:endParaRP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914022C8-6E5B-41E5-9C8D-79CC74192EA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56509" y="1916115"/>
            <a:ext cx="1505785" cy="19727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8" name="TextBox 47"/>
          <p:cNvSpPr txBox="1"/>
          <p:nvPr/>
        </p:nvSpPr>
        <p:spPr>
          <a:xfrm>
            <a:off x="5419532" y="1943945"/>
            <a:ext cx="2392243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ea typeface="Open Sans" pitchFamily="34" charset="0"/>
                <a:cs typeface="Open Sans" pitchFamily="34" charset="0"/>
              </a:defRPr>
            </a:lvl1pPr>
            <a:lvl3pPr marL="742932" lvl="2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ea typeface="Open Sans" pitchFamily="34" charset="0"/>
                <a:cs typeface="Open Sans" pitchFamily="34" charset="0"/>
              </a:defRPr>
            </a:lvl3pPr>
          </a:lstStyle>
          <a:p>
            <a:r>
              <a:rPr lang="ru-RU" sz="1200" dirty="0"/>
              <a:t>Способствует формированию практических умений и проектно-исследовательского мышления, развитию всех видов универсальных учебных действий</a:t>
            </a:r>
          </a:p>
          <a:p>
            <a:r>
              <a:rPr lang="ru-RU" sz="1200" dirty="0" smtClean="0"/>
              <a:t>Учащиеся </a:t>
            </a:r>
            <a:r>
              <a:rPr lang="ru-RU" sz="1200" dirty="0"/>
              <a:t>выполняют задания с использованием комплекта учебных конструкторов LEGO </a:t>
            </a:r>
            <a:r>
              <a:rPr lang="ru-RU" sz="1200" dirty="0" err="1"/>
              <a:t>Education</a:t>
            </a:r>
            <a:r>
              <a:rPr lang="ru-RU" sz="1200" dirty="0"/>
              <a:t> </a:t>
            </a:r>
            <a:r>
              <a:rPr lang="ru-RU" sz="1200" dirty="0" err="1"/>
              <a:t>WeDo</a:t>
            </a:r>
            <a:r>
              <a:rPr lang="ru-RU" sz="1200" dirty="0"/>
              <a:t> 2.0</a:t>
            </a:r>
            <a:r>
              <a:rPr lang="ru-RU" sz="1200" dirty="0" smtClean="0"/>
              <a:t>.</a:t>
            </a:r>
            <a:endParaRPr lang="ru-RU" sz="1200" dirty="0"/>
          </a:p>
        </p:txBody>
      </p:sp>
      <p:grpSp>
        <p:nvGrpSpPr>
          <p:cNvPr id="41" name="Группа 4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6691" y="1935463"/>
            <a:ext cx="1478442" cy="1953440"/>
          </a:xfrm>
          <a:prstGeom prst="rect">
            <a:avLst/>
          </a:prstGeom>
          <a:effectLst>
            <a:outerShdw blurRad="177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6" name="TextBox 35"/>
          <p:cNvSpPr txBox="1"/>
          <p:nvPr/>
        </p:nvSpPr>
        <p:spPr>
          <a:xfrm>
            <a:off x="9819977" y="1935462"/>
            <a:ext cx="2295823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 sz="1400">
                <a:ea typeface="Open Sans" pitchFamily="34" charset="0"/>
                <a:cs typeface="Open Sans" pitchFamily="34" charset="0"/>
              </a:defRPr>
            </a:lvl1pPr>
            <a:lvl3pPr marL="742950" lvl="2" indent="-285750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ea typeface="Open Sans" pitchFamily="34" charset="0"/>
                <a:cs typeface="Open Sans" pitchFamily="34" charset="0"/>
              </a:defRPr>
            </a:lvl3pPr>
          </a:lstStyle>
          <a:p>
            <a:r>
              <a:rPr lang="ru-RU" sz="1200" dirty="0">
                <a:sym typeface="Avenir Book"/>
              </a:rPr>
              <a:t>Расширяет содержание предметной области «Искусство»</a:t>
            </a:r>
          </a:p>
          <a:p>
            <a:r>
              <a:rPr lang="ru-RU" sz="1200" dirty="0" smtClean="0">
                <a:sym typeface="Avenir Book"/>
              </a:rPr>
              <a:t>Содержит </a:t>
            </a:r>
            <a:r>
              <a:rPr lang="ru-RU" sz="1200" dirty="0">
                <a:sym typeface="Avenir Book"/>
              </a:rPr>
              <a:t>задания и проекты по образованию смыслов и  </a:t>
            </a:r>
            <a:r>
              <a:rPr lang="ru-RU" sz="1200" dirty="0" smtClean="0">
                <a:sym typeface="Avenir Book"/>
              </a:rPr>
              <a:t>воспроизведени</a:t>
            </a:r>
            <a:r>
              <a:rPr lang="ru-RU" sz="1200" dirty="0">
                <a:sym typeface="Avenir Book"/>
              </a:rPr>
              <a:t>ю</a:t>
            </a:r>
            <a:r>
              <a:rPr lang="ru-RU" sz="1200" dirty="0" smtClean="0">
                <a:sym typeface="Avenir Book"/>
              </a:rPr>
              <a:t> </a:t>
            </a:r>
            <a:r>
              <a:rPr lang="ru-RU" sz="1200" dirty="0">
                <a:sym typeface="Avenir Book"/>
              </a:rPr>
              <a:t>информации через систему знаков и </a:t>
            </a:r>
            <a:r>
              <a:rPr lang="ru-RU" sz="1200" dirty="0" smtClean="0">
                <a:sym typeface="Avenir Book"/>
              </a:rPr>
              <a:t>символов</a:t>
            </a:r>
            <a:endParaRPr lang="ru-RU" sz="1200" dirty="0">
              <a:sym typeface="Avenir Book"/>
            </a:endParaRPr>
          </a:p>
          <a:p>
            <a:r>
              <a:rPr lang="ru-RU" sz="1200" dirty="0" smtClean="0">
                <a:sym typeface="Avenir Book"/>
              </a:rPr>
              <a:t>Развивает </a:t>
            </a:r>
            <a:r>
              <a:rPr lang="ru-RU" sz="1200" dirty="0">
                <a:sym typeface="Avenir Book"/>
              </a:rPr>
              <a:t>креативное и проектное </a:t>
            </a:r>
            <a:r>
              <a:rPr lang="ru-RU" sz="1200" dirty="0" smtClean="0">
                <a:sym typeface="Avenir Book"/>
              </a:rPr>
              <a:t>мышление</a:t>
            </a:r>
            <a:endParaRPr lang="ru-RU" sz="1200" dirty="0">
              <a:sym typeface="Avenir Book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8002624" y="830035"/>
            <a:ext cx="39628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ru-RU" b="1" dirty="0" err="1" smtClean="0">
                <a:solidFill>
                  <a:srgbClr val="000099"/>
                </a:solidFill>
              </a:rPr>
              <a:t>Н.Л.Селиванов</a:t>
            </a:r>
            <a:r>
              <a:rPr lang="ru-RU" b="1" dirty="0" smtClean="0">
                <a:solidFill>
                  <a:srgbClr val="000099"/>
                </a:solidFill>
              </a:rPr>
              <a:t>, </a:t>
            </a:r>
            <a:r>
              <a:rPr lang="ru-RU" b="1" dirty="0" err="1" smtClean="0">
                <a:solidFill>
                  <a:srgbClr val="000099"/>
                </a:solidFill>
              </a:rPr>
              <a:t>Т.В.Селиванова</a:t>
            </a:r>
            <a:endParaRPr lang="ru-RU" b="1" dirty="0" smtClean="0">
              <a:solidFill>
                <a:srgbClr val="000099"/>
              </a:solidFill>
            </a:endParaRPr>
          </a:p>
          <a:p>
            <a:pPr fontAlgn="ctr"/>
            <a:r>
              <a:rPr lang="ru-RU" b="1" dirty="0" smtClean="0">
                <a:solidFill>
                  <a:srgbClr val="000099"/>
                </a:solidFill>
              </a:rPr>
              <a:t>Искусство. Основы </a:t>
            </a:r>
            <a:r>
              <a:rPr lang="ru-RU" b="1" dirty="0" err="1" smtClean="0">
                <a:solidFill>
                  <a:srgbClr val="000099"/>
                </a:solidFill>
              </a:rPr>
              <a:t>инфографики</a:t>
            </a:r>
            <a:r>
              <a:rPr lang="ru-RU" b="1" dirty="0" smtClean="0">
                <a:solidFill>
                  <a:srgbClr val="000099"/>
                </a:solidFill>
              </a:rPr>
              <a:t> (1-4)</a:t>
            </a:r>
            <a:endParaRPr lang="ru-RU" b="1" dirty="0">
              <a:solidFill>
                <a:srgbClr val="000099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526317" y="4363443"/>
            <a:ext cx="104410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4">
              <a:spcBef>
                <a:spcPts val="1067"/>
              </a:spcBef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урсы могут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ыть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спользованы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урочной и внеурочной деятельности с любым УМК (1 час в неделю)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0742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14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5961" y="1376014"/>
            <a:ext cx="1532002" cy="2024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14" y="3599567"/>
            <a:ext cx="1512225" cy="20245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8471" y="3613571"/>
            <a:ext cx="1506981" cy="1996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93" y="1367866"/>
            <a:ext cx="1512225" cy="20245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Прямоугольник 9"/>
          <p:cNvSpPr/>
          <p:nvPr/>
        </p:nvSpPr>
        <p:spPr>
          <a:xfrm>
            <a:off x="3843578" y="1401821"/>
            <a:ext cx="7748302" cy="1997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44" indent="-285744" defTabSz="914354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оможе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заложить основы уважительного отношения к традициям и культуре народов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оссии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44" indent="-285744" defTabSz="914354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оможе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сформировать практические навыки общения в </a:t>
            </a:r>
            <a:r>
              <a:rPr lang="ru-RU" sz="1200" dirty="0" err="1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олиэтничной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среде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44" indent="-285744" defTabSz="914354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сширяет 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ополняе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содержание курса «Окружающий мир» </a:t>
            </a:r>
          </a:p>
          <a:p>
            <a:pPr marL="285744" indent="-285744" defTabSz="914354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Связан с учебными предметами изобразительным искусством, технологией, физкультурой, музыкой, литературным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чтением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44" indent="-285744" defTabSz="914354"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урс может быть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спользован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в урочной и внеурочной деятельности с любым УМК (1 час в неделю)</a:t>
            </a:r>
          </a:p>
          <a:p>
            <a:pPr defTabSz="914354">
              <a:spcBef>
                <a:spcPts val="1067"/>
              </a:spcBef>
              <a:buClr>
                <a:srgbClr val="0073B8"/>
              </a:buClr>
              <a:buSzPct val="66000"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graphicFrame>
        <p:nvGraphicFramePr>
          <p:cNvPr id="42" name="Таблица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033417"/>
              </p:ext>
            </p:extLst>
          </p:nvPr>
        </p:nvGraphicFramePr>
        <p:xfrm>
          <a:off x="3878803" y="4159700"/>
          <a:ext cx="7289940" cy="2054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6572">
                  <a:extLst>
                    <a:ext uri="{9D8B030D-6E8A-4147-A177-3AD203B41FA5}">
                      <a16:colId xmlns:a16="http://schemas.microsoft.com/office/drawing/2014/main" val="3669150609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892373509"/>
                    </a:ext>
                  </a:extLst>
                </a:gridCol>
                <a:gridCol w="581025">
                  <a:extLst>
                    <a:ext uri="{9D8B030D-6E8A-4147-A177-3AD203B41FA5}">
                      <a16:colId xmlns:a16="http://schemas.microsoft.com/office/drawing/2014/main" val="753614388"/>
                    </a:ext>
                  </a:extLst>
                </a:gridCol>
                <a:gridCol w="3615418">
                  <a:extLst>
                    <a:ext uri="{9D8B030D-6E8A-4147-A177-3AD203B41FA5}">
                      <a16:colId xmlns:a16="http://schemas.microsoft.com/office/drawing/2014/main" val="2740690258"/>
                    </a:ext>
                  </a:extLst>
                </a:gridCol>
              </a:tblGrid>
              <a:tr h="331049"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№ ФПУ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НАИМЕНОВАНИЕ УЧЕБНИК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КЛАССЫ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АВТОРЫ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632325"/>
                  </a:ext>
                </a:extLst>
              </a:tr>
              <a:tr h="43955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.1.1.4.1.15.1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>
                          <a:latin typeface="+mn-lt"/>
                        </a:rPr>
                        <a:t>Народы</a:t>
                      </a:r>
                      <a:r>
                        <a:rPr lang="ru-RU" sz="1100" baseline="0" dirty="0" smtClean="0">
                          <a:latin typeface="+mn-lt"/>
                        </a:rPr>
                        <a:t> России: дорога дружбы</a:t>
                      </a:r>
                      <a:endParaRPr lang="ru-RU" sz="11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  <a:endParaRPr lang="ru-RU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Е. </a:t>
                      </a: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.Найденова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.Н.Журавлева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 под ред. </a:t>
                      </a: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.А.Тишкова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950474"/>
                  </a:ext>
                </a:extLst>
              </a:tr>
              <a:tr h="404886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.1.1.4.1.15.2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>
                          <a:latin typeface="+mn-lt"/>
                        </a:rPr>
                        <a:t>Народы России: дорога дружбы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+mn-lt"/>
                        </a:rPr>
                        <a:t>2</a:t>
                      </a:r>
                      <a:endParaRPr lang="ru-RU" sz="11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.Ю.Мартынова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.Н.Журавлева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 под редакцией </a:t>
                      </a: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.А.Тишкова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	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522479"/>
                  </a:ext>
                </a:extLst>
              </a:tr>
              <a:tr h="43955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.1.1.4.1.15.3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>
                          <a:latin typeface="+mn-lt"/>
                        </a:rPr>
                        <a:t>Народы России: дорога дружбы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+mn-lt"/>
                        </a:rPr>
                        <a:t>3</a:t>
                      </a:r>
                      <a:endParaRPr lang="ru-RU" sz="11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.Ю.Мартынова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.Н.Журавлева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 под редакцией Тишкова В.А. 	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9166395"/>
                  </a:ext>
                </a:extLst>
              </a:tr>
              <a:tr h="439559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.1.1.4.1.15.4</a:t>
                      </a:r>
                    </a:p>
                  </a:txBody>
                  <a:tcPr marL="54000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>
                          <a:latin typeface="+mn-lt"/>
                        </a:rPr>
                        <a:t>Народы России: дорога дружбы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+mn-lt"/>
                        </a:rPr>
                        <a:t>4</a:t>
                      </a:r>
                      <a:endParaRPr lang="ru-RU" sz="1100" dirty="0">
                        <a:latin typeface="+mn-lt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.Н.Рудник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.И.Власенко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  </a:t>
                      </a: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.Н.Журавлева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под редакцией </a:t>
                      </a: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.А.Тишкова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	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676107"/>
                  </a:ext>
                </a:extLst>
              </a:tr>
            </a:tbl>
          </a:graphicData>
        </a:graphic>
      </p:graphicFrame>
      <p:grpSp>
        <p:nvGrpSpPr>
          <p:cNvPr id="41" name="Группа 4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1770318" y="212876"/>
            <a:ext cx="104883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НАРОДЫ РОССИИ: ДОРОГА ДРУЖБЫ (1-4) – </a:t>
            </a:r>
            <a:r>
              <a:rPr lang="ru-RU" sz="2000" b="1" dirty="0" smtClean="0">
                <a:solidFill>
                  <a:srgbClr val="FF6699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НОВИНКА ФПУ</a:t>
            </a:r>
            <a:endParaRPr lang="ru-RU" sz="2000" b="1" dirty="0">
              <a:solidFill>
                <a:srgbClr val="FF6699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646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Box 57"/>
          <p:cNvSpPr txBox="1"/>
          <p:nvPr/>
        </p:nvSpPr>
        <p:spPr>
          <a:xfrm>
            <a:off x="1819516" y="231397"/>
            <a:ext cx="9793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3399"/>
                </a:solidFill>
                <a:latin typeface="Calibri" panose="020F0502020204030204"/>
              </a:rPr>
              <a:t>ЕСТЕСТВОЗНАНИЕ. 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АЗБУКА ЭКОЛОГИИ (1-4) (ЧИСТАЯ ПЛАНЕТА) – </a:t>
            </a:r>
            <a:r>
              <a:rPr lang="ru-RU" sz="2000" b="1" dirty="0" smtClean="0">
                <a:solidFill>
                  <a:srgbClr val="FF6699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НОВИНКА ФПУ</a:t>
            </a:r>
            <a:endParaRPr lang="ru-RU" sz="2000" b="1" dirty="0">
              <a:solidFill>
                <a:srgbClr val="FF6699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692905"/>
              </p:ext>
            </p:extLst>
          </p:nvPr>
        </p:nvGraphicFramePr>
        <p:xfrm>
          <a:off x="662700" y="4377981"/>
          <a:ext cx="5256409" cy="167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9209">
                  <a:extLst>
                    <a:ext uri="{9D8B030D-6E8A-4147-A177-3AD203B41FA5}">
                      <a16:colId xmlns:a16="http://schemas.microsoft.com/office/drawing/2014/main" val="3669150609"/>
                    </a:ext>
                  </a:extLst>
                </a:gridCol>
                <a:gridCol w="1731107">
                  <a:extLst>
                    <a:ext uri="{9D8B030D-6E8A-4147-A177-3AD203B41FA5}">
                      <a16:colId xmlns:a16="http://schemas.microsoft.com/office/drawing/2014/main" val="892373509"/>
                    </a:ext>
                  </a:extLst>
                </a:gridCol>
                <a:gridCol w="742950">
                  <a:extLst>
                    <a:ext uri="{9D8B030D-6E8A-4147-A177-3AD203B41FA5}">
                      <a16:colId xmlns:a16="http://schemas.microsoft.com/office/drawing/2014/main" val="753614388"/>
                    </a:ext>
                  </a:extLst>
                </a:gridCol>
                <a:gridCol w="1793143">
                  <a:extLst>
                    <a:ext uri="{9D8B030D-6E8A-4147-A177-3AD203B41FA5}">
                      <a16:colId xmlns:a16="http://schemas.microsoft.com/office/drawing/2014/main" val="2740690258"/>
                    </a:ext>
                  </a:extLst>
                </a:gridCol>
              </a:tblGrid>
              <a:tr h="289269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№ ФПУ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НАИМЕНОВАНИЕ УЧЕБНИКА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КЛАССЫ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900" b="1" kern="1200" dirty="0" smtClean="0">
                          <a:solidFill>
                            <a:schemeClr val="lt1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АВТОРЫ</a:t>
                      </a:r>
                      <a:endParaRPr lang="ru-RU" sz="900" b="1" kern="1200" dirty="0">
                        <a:solidFill>
                          <a:schemeClr val="lt1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2632325"/>
                  </a:ext>
                </a:extLst>
              </a:tr>
              <a:tr h="318857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1.1.4.2.1.1</a:t>
                      </a:r>
                    </a:p>
                  </a:txBody>
                  <a:tcPr marL="54000" marR="9525" marT="9525" marB="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збука экологии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.В.Шпотова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950474"/>
                  </a:ext>
                </a:extLst>
              </a:tr>
              <a:tr h="318857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1.1.4.2.1.2</a:t>
                      </a:r>
                    </a:p>
                  </a:txBody>
                  <a:tcPr marL="54000" marR="9525" marT="9525" marB="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збука экологии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.В.Шпотова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505153"/>
                  </a:ext>
                </a:extLst>
              </a:tr>
              <a:tr h="318857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1.1.4.2.1.3</a:t>
                      </a:r>
                    </a:p>
                  </a:txBody>
                  <a:tcPr marL="54000" marR="9525" marT="9525" marB="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збука экологии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.В.Шпотова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9069825"/>
                  </a:ext>
                </a:extLst>
              </a:tr>
              <a:tr h="318857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1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.1.1.4.2.1.4</a:t>
                      </a:r>
                    </a:p>
                  </a:txBody>
                  <a:tcPr marL="54000" marR="9525" marT="9525" marB="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збука экологии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.В.Шпотова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.Г.Харитонова</a:t>
                      </a:r>
                      <a:endParaRPr lang="ru-RU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92000" anchor="ctr">
                    <a:solidFill>
                      <a:srgbClr val="E6F0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67324"/>
                  </a:ext>
                </a:extLst>
              </a:tr>
            </a:tbl>
          </a:graphicData>
        </a:graphic>
      </p:graphicFrame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2"/>
          <a:srcRect l="26330" t="20000" r="45064" b="11965"/>
          <a:stretch/>
        </p:blipFill>
        <p:spPr>
          <a:xfrm>
            <a:off x="9781300" y="3647142"/>
            <a:ext cx="1719664" cy="23005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8797" y="3647143"/>
            <a:ext cx="1697838" cy="23005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1612" y="1225048"/>
            <a:ext cx="1689357" cy="22953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189" y="1238272"/>
            <a:ext cx="1706446" cy="22905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563EFA30-CEAE-C044-9C91-3990C6750E36}"/>
              </a:ext>
            </a:extLst>
          </p:cNvPr>
          <p:cNvSpPr txBox="1"/>
          <p:nvPr/>
        </p:nvSpPr>
        <p:spPr>
          <a:xfrm>
            <a:off x="662700" y="1413197"/>
            <a:ext cx="5877414" cy="2233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200">
                <a:ea typeface="Open Sans" pitchFamily="34" charset="0"/>
                <a:cs typeface="Open Sans" pitchFamily="34" charset="0"/>
              </a:defRPr>
            </a:lvl1pPr>
            <a:lvl3pPr marL="742938" lvl="2" indent="-285750">
              <a:spcAft>
                <a:spcPts val="1200"/>
              </a:spcAft>
              <a:buClr>
                <a:srgbClr val="0073B8"/>
              </a:buClr>
              <a:buSzPct val="66000"/>
              <a:buFont typeface="Wingdings" panose="05000000000000000000" pitchFamily="2" charset="2"/>
              <a:buChar char="§"/>
              <a:defRPr sz="1200">
                <a:ea typeface="Open Sans" pitchFamily="34" charset="0"/>
                <a:cs typeface="Open Sans" pitchFamily="34" charset="0"/>
              </a:defRPr>
            </a:lvl3pPr>
          </a:lstStyle>
          <a:p>
            <a:r>
              <a:rPr lang="ru-RU" dirty="0"/>
              <a:t>Знакомит с основными экологическими понятиями</a:t>
            </a:r>
          </a:p>
          <a:p>
            <a:r>
              <a:rPr lang="ru-RU" dirty="0"/>
              <a:t>Воспитывает чувства ответственности за свои действия в природе</a:t>
            </a:r>
          </a:p>
          <a:p>
            <a:r>
              <a:rPr lang="ru-RU" dirty="0"/>
              <a:t>Развивает умение находить в окружающем мире локальные проявления глобальных экологических проблем</a:t>
            </a:r>
          </a:p>
          <a:p>
            <a:r>
              <a:rPr lang="ru-RU" dirty="0"/>
              <a:t>Направлен на формирование у детей эмоционально-положительного отношения к природе и навыков поведения в ней </a:t>
            </a:r>
            <a:endParaRPr lang="ru-RU" dirty="0" smtClean="0"/>
          </a:p>
          <a:p>
            <a:pPr defTabSz="914354">
              <a:spcBef>
                <a:spcPts val="1067"/>
              </a:spcBef>
            </a:pP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Курс может быть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спользован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урочной и внеурочной деятельности с любым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УМК по окружающему миру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1 час в неделю)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9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0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1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2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3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4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5571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75905" y="100550"/>
            <a:ext cx="9600075" cy="420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 </a:t>
            </a:r>
            <a:endParaRPr lang="ru-RU" sz="2133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814631" y="136993"/>
            <a:ext cx="96000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3399"/>
                </a:solidFill>
                <a:latin typeface="Calibri" panose="020F0502020204030204"/>
              </a:rPr>
              <a:t>«Эффективная начальная школа»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832788" y="760692"/>
            <a:ext cx="33140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B050"/>
                </a:solidFill>
                <a:ea typeface="Open Sans Condensed" pitchFamily="34" charset="0"/>
                <a:cs typeface="Open Sans Condensed" pitchFamily="34" charset="0"/>
              </a:rPr>
              <a:t>Первый год </a:t>
            </a:r>
            <a:r>
              <a:rPr lang="ru-RU" sz="1600" b="1" dirty="0" smtClean="0">
                <a:solidFill>
                  <a:srgbClr val="00B050"/>
                </a:solidFill>
                <a:ea typeface="Open Sans Condensed" pitchFamily="34" charset="0"/>
                <a:cs typeface="Open Sans Condensed" pitchFamily="34" charset="0"/>
              </a:rPr>
              <a:t>обучения</a:t>
            </a:r>
          </a:p>
          <a:p>
            <a:pPr algn="ctr"/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=</a:t>
            </a:r>
          </a:p>
          <a:p>
            <a:pPr algn="ctr"/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рограмма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учения 1 и 2 классов</a:t>
            </a: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3441" y="1882007"/>
            <a:ext cx="1297593" cy="17348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884" y="1882007"/>
            <a:ext cx="1277906" cy="17085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6800" y="1882007"/>
            <a:ext cx="1272824" cy="17017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549" y="3731885"/>
            <a:ext cx="1274969" cy="17045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9216" y="3740192"/>
            <a:ext cx="1268756" cy="16962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5" name="Группа 24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sp>
        <p:nvSpPr>
          <p:cNvPr id="58" name="Прямоугольник 57"/>
          <p:cNvSpPr/>
          <p:nvPr/>
        </p:nvSpPr>
        <p:spPr>
          <a:xfrm>
            <a:off x="3158842" y="2161113"/>
            <a:ext cx="22210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снова комплекта – </a:t>
            </a:r>
          </a:p>
          <a:p>
            <a:r>
              <a:rPr lang="ru-RU" sz="12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МК «Школа России».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442933" y="3797328"/>
            <a:ext cx="25535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Для детей с </a:t>
            </a:r>
            <a:r>
              <a:rPr lang="ru-RU" sz="12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ысокой учебной мотивацией и высоким уровнем готовности</a:t>
            </a:r>
            <a:r>
              <a:rPr lang="ru-RU" sz="12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к обучению в школе.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83047" y="2196839"/>
            <a:ext cx="2135666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defRPr>
            </a:lvl1pPr>
          </a:lstStyle>
          <a:p>
            <a:r>
              <a:rPr lang="ru-RU" b="1" dirty="0"/>
              <a:t>Реализация ускоренного обучения </a:t>
            </a:r>
            <a:r>
              <a:rPr lang="ru-RU" dirty="0"/>
              <a:t>в начальной школе (1-3).</a:t>
            </a:r>
          </a:p>
        </p:txBody>
      </p:sp>
      <p:pic>
        <p:nvPicPr>
          <p:cNvPr id="62" name="Рисунок 8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142" y="1655693"/>
            <a:ext cx="467323" cy="443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0829" y="3269007"/>
            <a:ext cx="589382" cy="446019"/>
          </a:xfrm>
          <a:prstGeom prst="rect">
            <a:avLst/>
          </a:prstGeom>
        </p:spPr>
      </p:pic>
      <p:sp>
        <p:nvSpPr>
          <p:cNvPr id="65" name="Прямоугольник 64"/>
          <p:cNvSpPr/>
          <p:nvPr/>
        </p:nvSpPr>
        <p:spPr>
          <a:xfrm>
            <a:off x="713401" y="927685"/>
            <a:ext cx="60124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ЕСПЕЧЕНИЕ УСЛОВИЙ ДЛЯ РАЗВИТИЯ И ОБУЧЕНИЯ ДЕТЕЙ </a:t>
            </a:r>
          </a:p>
          <a:p>
            <a:pPr algn="ctr"/>
            <a:r>
              <a:rPr lang="ru-RU" sz="14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 ВЫСОКИМ УРОВНЕМ РАЗВИТИЯ ПАРАМЕТРОВ ДОШКОЛЬНОЙ ЗРЕЛОСТИ</a:t>
            </a:r>
            <a:endParaRPr lang="ru-RU" sz="1400" b="1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66" name="Рисунок 6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94174" y="1728497"/>
            <a:ext cx="473963" cy="370492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445404" y="5020975"/>
            <a:ext cx="108683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400">
                <a:solidFill>
                  <a:srgbClr val="002060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ru-RU" sz="16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 первый год обучения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–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ru-RU" sz="16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скоренное прохождение программы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за 1-2 классы.</a:t>
            </a:r>
          </a:p>
          <a:p>
            <a:pPr algn="l"/>
            <a:r>
              <a:rPr lang="ru-RU" sz="16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торой год обучения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– переход на учебники для 3 класса «обычного» комплекта.</a:t>
            </a:r>
          </a:p>
          <a:p>
            <a:pPr algn="l"/>
            <a:r>
              <a:rPr lang="ru-RU" sz="16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Третий год обучения </a:t>
            </a:r>
            <a:r>
              <a:rPr lang="ru-RU" sz="16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– продолжение обучения по учебникам для 4 класса «обычного» комплекта.</a:t>
            </a:r>
          </a:p>
        </p:txBody>
      </p:sp>
    </p:spTree>
    <p:extLst>
      <p:ext uri="{BB962C8B-B14F-4D97-AF65-F5344CB8AC3E}">
        <p14:creationId xmlns:p14="http://schemas.microsoft.com/office/powerpoint/2010/main" val="336624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Группа 51"/>
          <p:cNvGrpSpPr/>
          <p:nvPr/>
        </p:nvGrpSpPr>
        <p:grpSpPr>
          <a:xfrm>
            <a:off x="240697" y="194747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68" name="Прямая соединительная линия 67"/>
          <p:cNvCxnSpPr/>
          <p:nvPr/>
        </p:nvCxnSpPr>
        <p:spPr>
          <a:xfrm>
            <a:off x="1753355" y="197058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806646" y="279950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УЧЕБНЫЕ ПОСОБИЯ ДЛЯ РЕАЛИЗАЦИИ ВНЕУРОЧНОЙ ДЕЯТЕЛЬНОСТИ</a:t>
            </a:r>
            <a:endParaRPr lang="ru-RU"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880782"/>
              </p:ext>
            </p:extLst>
          </p:nvPr>
        </p:nvGraphicFramePr>
        <p:xfrm>
          <a:off x="137989" y="1070794"/>
          <a:ext cx="7399323" cy="4914836"/>
        </p:xfrm>
        <a:graphic>
          <a:graphicData uri="http://schemas.openxmlformats.org/drawingml/2006/table">
            <a:tbl>
              <a:tblPr/>
              <a:tblGrid>
                <a:gridCol w="1818751">
                  <a:extLst>
                    <a:ext uri="{9D8B030D-6E8A-4147-A177-3AD203B41FA5}">
                      <a16:colId xmlns:a16="http://schemas.microsoft.com/office/drawing/2014/main" val="405908439"/>
                    </a:ext>
                  </a:extLst>
                </a:gridCol>
                <a:gridCol w="5580572">
                  <a:extLst>
                    <a:ext uri="{9D8B030D-6E8A-4147-A177-3AD203B41FA5}">
                      <a16:colId xmlns:a16="http://schemas.microsoft.com/office/drawing/2014/main" val="152928745"/>
                    </a:ext>
                  </a:extLst>
                </a:gridCol>
              </a:tblGrid>
              <a:tr h="350249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АПРАВЛЕНИЯ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АВТОР/НАЗВАНИЕ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КУРСА ВНЕУРОЧНОЙ ДЕЯТЕЛЬНОСТИ 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91618"/>
                  </a:ext>
                </a:extLst>
              </a:tr>
              <a:tr h="344623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бщеинтеллектуальное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М.К.Антошин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Грамотный читатель. Обучение смысловому чтению (1–4)</a:t>
                      </a:r>
                      <a:endParaRPr lang="ru-RU" sz="800" b="1" i="0" u="non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Т.А.Ладыженская</a:t>
                      </a: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Н.В.Ладыженская</a:t>
                      </a: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Р.И.Никольская</a:t>
                      </a: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Г.И.Сорокина</a:t>
                      </a: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1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Детская риторика в рассказах</a:t>
                      </a:r>
                      <a:r>
                        <a:rPr lang="ru-RU" sz="1200" b="1" i="0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и картинках (1-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Л.В.Петленко, </a:t>
                      </a:r>
                      <a:r>
                        <a:rPr lang="ru-RU" sz="1200" b="0" kern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В.Ю.Романова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Русский язык.</a:t>
                      </a:r>
                      <a:r>
                        <a:rPr lang="en-US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Познавательные истории с заданиями</a:t>
                      </a:r>
                      <a:endParaRPr lang="ru-RU" sz="800" b="1" i="0" u="non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С.И.Волкова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Геометрия вокруг нас (1–4)</a:t>
                      </a:r>
                      <a:endParaRPr lang="ru-RU" sz="800" b="1" i="0" u="non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Ю.И.Глаголева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Развитие математических способностей (1–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Е.Э.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Кочурова 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Занимательная математика (1-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.Г.Калашникова </a:t>
                      </a:r>
                      <a:r>
                        <a:rPr lang="ru-RU" sz="1200" b="0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и др.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Секреты финансовой грамоты (2-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.Н.Журавлева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, С.В. Александрова.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Моя конституция (1-4)</a:t>
                      </a:r>
                      <a:endParaRPr lang="ru-RU" sz="800" b="1" i="0" u="non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.Н.Дорохина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,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.А.Паршина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пыты и эксперименты в начальной школе (1-2)</a:t>
                      </a:r>
                      <a:endParaRPr lang="ru-RU" sz="800" b="1" i="0" u="none" strike="noStrike" kern="1200" cap="none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И.К.Лапина</a:t>
                      </a: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В.Г.Сурдин</a:t>
                      </a: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Школа юного астронома (3-4)</a:t>
                      </a:r>
                      <a:endParaRPr lang="ru-RU" sz="800" b="1" i="0" u="none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Т.А.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Корнева</a:t>
                      </a: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200" b="0" i="0" u="none" strike="noStrike" cap="non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О.А.Корнев</a:t>
                      </a: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Проектная мастерская (1)</a:t>
                      </a: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5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03744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бщекультурное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И.Ю.Алексашина,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.И.Лагутенко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Что мы знаем про то, что нас окружает? 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Тетрадь-практикум. В 2 ч. (1-4)</a:t>
                      </a: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5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314606"/>
                  </a:ext>
                </a:extLst>
              </a:tr>
              <a:tr h="4497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Спортивно­-оздоровительное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Под ред. </a:t>
                      </a:r>
                      <a:r>
                        <a:rPr lang="ru-RU" sz="1200" b="0" kern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Г.Г.Онищенко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Здорово быть здоровым</a:t>
                      </a: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5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5073343"/>
                  </a:ext>
                </a:extLst>
              </a:tr>
            </a:tbl>
          </a:graphicData>
        </a:graphic>
      </p:graphicFrame>
      <p:pic>
        <p:nvPicPr>
          <p:cNvPr id="34" name="Picture 2" descr="C:\Users\MRomanova\AppData\Local\Microsoft\Windows\Temporary Internet Files\Content.Outlook\1ALXYQT3\Cove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38673" y="2872931"/>
            <a:ext cx="1332009" cy="16973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6606" y="1084083"/>
            <a:ext cx="1334076" cy="1666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972" y="2864448"/>
            <a:ext cx="1340211" cy="17099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9" name="Группа 38"/>
          <p:cNvGrpSpPr/>
          <p:nvPr/>
        </p:nvGrpSpPr>
        <p:grpSpPr>
          <a:xfrm>
            <a:off x="7713970" y="1089915"/>
            <a:ext cx="4125721" cy="5291457"/>
            <a:chOff x="8293007" y="2485967"/>
            <a:chExt cx="2178971" cy="2352298"/>
          </a:xfrm>
        </p:grpSpPr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93007" y="4067676"/>
              <a:ext cx="708210" cy="77058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3" name="Picture 2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471" t="11105" r="29883" b="6661"/>
            <a:stretch/>
          </p:blipFill>
          <p:spPr bwMode="auto">
            <a:xfrm>
              <a:off x="9794383" y="2485967"/>
              <a:ext cx="672824" cy="73803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86607" y="3274831"/>
              <a:ext cx="685371" cy="74463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47" name="Picture 4" descr="Изображение Грамотный читатель. Обучение смысловому чтению.  1-2 классы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265" y="1055981"/>
            <a:ext cx="1350351" cy="16941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MRomanova\AppData\Local\Microsoft\Windows\Temporary Internet Files\Content.Outlook\1ALXYQT3\Cover Opit--Eksperiment 1-2 kl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32312" y="4648450"/>
            <a:ext cx="1328096" cy="17329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178" name="Picture 2" descr="Изображение Детская риторика в рассказах и рисунках. 3 класс. В 2 ч. Ч. 1 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8673" y="4648450"/>
            <a:ext cx="1332006" cy="17329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840036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Рисунок 4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4174" y="3857624"/>
            <a:ext cx="564200" cy="202323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374" y="4126622"/>
            <a:ext cx="564200" cy="202323"/>
          </a:xfrm>
          <a:prstGeom prst="rect">
            <a:avLst/>
          </a:prstGeom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4461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 descr="C:\Users\MRomanova\AppData\Local\Microsoft\Windows\Temporary Internet Files\Content.Outlook\1ALXYQT3\Cover Opit--Eksperiment 1-2 kl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8036" y="1406996"/>
            <a:ext cx="2576522" cy="33988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Группа 2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2" name="Прямая соединительная линия 61"/>
          <p:cNvCxnSpPr/>
          <p:nvPr/>
        </p:nvCxnSpPr>
        <p:spPr>
          <a:xfrm>
            <a:off x="1753355" y="197058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3870512" y="1959958"/>
            <a:ext cx="7684311" cy="1355313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spcAft>
                <a:spcPts val="1200"/>
              </a:spcAft>
              <a:buClr>
                <a:srgbClr val="0073B8"/>
              </a:buClr>
              <a:buSzPct val="66000"/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dirty="0">
                <a:solidFill>
                  <a:schemeClr val="tx1"/>
                </a:solidFill>
              </a:rPr>
              <a:t>В результате работы с </a:t>
            </a:r>
            <a:r>
              <a:rPr lang="ru-RU" sz="1200" dirty="0" smtClean="0">
                <a:solidFill>
                  <a:schemeClr val="tx1"/>
                </a:solidFill>
              </a:rPr>
              <a:t>книгой учащиеся </a:t>
            </a:r>
            <a:r>
              <a:rPr lang="ru-RU" sz="1200" dirty="0">
                <a:solidFill>
                  <a:schemeClr val="tx1"/>
                </a:solidFill>
              </a:rPr>
              <a:t>будут учиться добывать знания самостоятельно, видеть необычное в привычных предметах и явлениях, научно объяснять явления, понимать особенности естественнонаучного исследования, использовать выводы, полученные в ходе опытов и экспериментов</a:t>
            </a: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dirty="0">
                <a:solidFill>
                  <a:schemeClr val="tx1"/>
                </a:solidFill>
              </a:rPr>
              <a:t>Все необходимые для проведения опытов инструменты и материалы соответствуют  материально-техническим условиям реализации основной образовательной программы начального общего образования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818197" y="300085"/>
            <a:ext cx="99959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ормирование </a:t>
            </a:r>
            <a:r>
              <a:rPr lang="ru-RU" sz="20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снов естественно-научной функциональной </a:t>
            </a:r>
            <a:r>
              <a:rPr lang="ru-RU" sz="20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грамотности</a:t>
            </a:r>
            <a:endParaRPr lang="ru-RU" sz="2000" b="1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7987" y="839222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6" descr="http://qrcoder.ru/code/?https%3A%2F%2Fshop.prosv.ru%2Fkatalog%23%2Forderby%3D5%26sFilters%3D4%212304%3B13%2117879%3B&amp;8&amp;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6330" y="5581439"/>
            <a:ext cx="958493" cy="958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9804242" y="5948979"/>
            <a:ext cx="1873257" cy="326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tabLst>
                <a:tab pos="457200" algn="l"/>
              </a:tabLst>
              <a:defRPr/>
            </a:pP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  <a:hlinkClick r:id="rId4"/>
              </a:rPr>
              <a:t>Купить</a:t>
            </a: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  <a:endParaRPr lang="ru-RU" sz="16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394532" y="6068916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9322" y="1011007"/>
            <a:ext cx="2047861" cy="734366"/>
          </a:xfrm>
          <a:prstGeom prst="rect">
            <a:avLst/>
          </a:prstGeom>
        </p:spPr>
      </p:pic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621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2" name="Прямая соединительная линия 61"/>
          <p:cNvCxnSpPr/>
          <p:nvPr/>
        </p:nvCxnSpPr>
        <p:spPr>
          <a:xfrm>
            <a:off x="1753355" y="206583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3848101" y="2334196"/>
            <a:ext cx="7026120" cy="1355313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dirty="0">
                <a:solidFill>
                  <a:schemeClr val="tx1"/>
                </a:solidFill>
              </a:rPr>
              <a:t>Пособие наглядно расскажет младшим школьникам об основном законе нашей страны и раскроет на примерах важность внесенных поправок в 2020 году</a:t>
            </a: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dirty="0">
                <a:solidFill>
                  <a:schemeClr val="tx1"/>
                </a:solidFill>
              </a:rPr>
              <a:t>Богатый иллюстративный материал, интересные вопросы и задания способствуют формированию интереса к изучаемому материалу, осознанию учащимися начальных классов социальной роли граждан нашей </a:t>
            </a:r>
            <a:r>
              <a:rPr lang="ru-RU" sz="1200" dirty="0" smtClean="0">
                <a:solidFill>
                  <a:schemeClr val="tx1"/>
                </a:solidFill>
              </a:rPr>
              <a:t>страны</a:t>
            </a: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dirty="0">
                <a:solidFill>
                  <a:schemeClr val="tx1"/>
                </a:solidFill>
              </a:rPr>
              <a:t>Может быть использовано  внеурочной деятельности (1 час в </a:t>
            </a:r>
            <a:r>
              <a:rPr lang="ru-RU" sz="1200" dirty="0" err="1">
                <a:solidFill>
                  <a:schemeClr val="tx1"/>
                </a:solidFill>
              </a:rPr>
              <a:t>нед</a:t>
            </a:r>
            <a:r>
              <a:rPr lang="ru-RU" sz="1200" dirty="0">
                <a:solidFill>
                  <a:schemeClr val="tx1"/>
                </a:solidFill>
              </a:rPr>
              <a:t>.) и как дополнительный материал для уроков «Окружающий мир»</a:t>
            </a: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873320" y="352674"/>
            <a:ext cx="9439464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зучение Конституции РФ в школе - основа патриотического воспитания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041" y="1380447"/>
            <a:ext cx="2476204" cy="32335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7987" y="839222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6" descr="http://qrcoder.ru/code/?https%3A%2F%2Fshop.prosv.ru%2Fkatalog%23%2Forderby%3D5%26sFilters%3D4%212304%3B13%2117879%3B&amp;8&amp;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6330" y="5581439"/>
            <a:ext cx="958493" cy="958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9804242" y="5948979"/>
            <a:ext cx="1873257" cy="326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tabLst>
                <a:tab pos="457200" algn="l"/>
              </a:tabLst>
              <a:defRPr/>
            </a:pP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  <a:hlinkClick r:id="rId4"/>
              </a:rPr>
              <a:t>Купить</a:t>
            </a: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  <a:endParaRPr lang="ru-RU" sz="16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394532" y="6068916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8372" y="1011007"/>
            <a:ext cx="2047861" cy="734366"/>
          </a:xfrm>
          <a:prstGeom prst="rect">
            <a:avLst/>
          </a:prstGeom>
        </p:spPr>
      </p:pic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4701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840036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770318" y="151771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Box 6">
            <a:extLst>
              <a:ext uri="{FF2B5EF4-FFF2-40B4-BE49-F238E27FC236}">
                <a16:creationId xmlns:a16="http://schemas.microsoft.com/office/drawing/2014/main" id="{2B6781A1-18DE-40FE-92FF-E2BB542689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9463" y="227960"/>
            <a:ext cx="102269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defTabSz="449263" eaLnBrk="0" hangingPunct="0">
              <a:spcBef>
                <a:spcPct val="20000"/>
              </a:spcBef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 eaLnBrk="0" hangingPunct="0">
              <a:spcBef>
                <a:spcPct val="20000"/>
              </a:spcBef>
              <a:buChar char="–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 eaLnBrk="0" hangingPunct="0">
              <a:spcBef>
                <a:spcPct val="20000"/>
              </a:spcBef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 eaLnBrk="0" hangingPunct="0">
              <a:spcBef>
                <a:spcPct val="20000"/>
              </a:spcBef>
              <a:buChar char="–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 eaLnBrk="0" hangingPunct="0">
              <a:spcBef>
                <a:spcPct val="20000"/>
              </a:spcBef>
              <a:buChar char="»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None/>
            </a:pPr>
            <a:r>
              <a:rPr lang="ru-RU" alt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УЧЕБНЫЕ ПОСОБИЯ К ЛИНИЯМ УМК И УНИВЕРСАЛЬНЫЕ ПОСОБИЯ </a:t>
            </a:r>
            <a:endParaRPr lang="en-GB" altLang="ru-RU"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pic>
        <p:nvPicPr>
          <p:cNvPr id="29" name="Picture 6" descr="Изображение Математика. 4 класс. Подготовка к всероссийским проверочным работам (ВПР). Разноуровневые проверочные работы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8717" y="1060219"/>
            <a:ext cx="1058605" cy="13764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34" descr="Комплексные диагностические работы в начальной школе. 4 класс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9954" y="4380190"/>
            <a:ext cx="1204828" cy="14774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594" y="2667095"/>
            <a:ext cx="1102506" cy="14700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9954" y="1060218"/>
            <a:ext cx="1068758" cy="14269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2274" name="Picture 2" descr="Изображение Итоговые проверочные работы. Итоговая комплексная работа. Русский язык. Математика. 2 класс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616" y="4380190"/>
            <a:ext cx="1120178" cy="14774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6" descr="Изображение Потренируйся! Тетрадь для самостоятельной работы по русскому языку для 3 класса общеобразовательных организаций. В 2 ч. Ч. 1, тетрадь Корешкова Т.В. п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462" y="1032841"/>
            <a:ext cx="1115464" cy="14542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Рисунок 61" descr="Изображение Для тех, кто любит математику. 1 класс."/>
          <p:cNvPicPr/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98613" y="1028478"/>
            <a:ext cx="1182839" cy="14398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3" name="Picture 5" descr="Изображение ИТОГОВЫЕ ТЕСТЫ по русскому языку для 2 кл.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2647" y="2659001"/>
            <a:ext cx="1069401" cy="14451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7098" y="2621664"/>
            <a:ext cx="1155865" cy="1541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8" descr="Изображение Формируем универсальные учебные действия на уроках РУССКОГО ЯЗЫКА 2 кл.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769" y="4380189"/>
            <a:ext cx="1171371" cy="14774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" descr="Изображение Всероссийские проверочные работы. Математика. 10 типовых вариантов. 4 класс.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238" y="4380190"/>
            <a:ext cx="1125911" cy="14774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4" descr="Изображение Готовимся к Всероссийской проверочной работе. Окружающий мир. Рабочая тетрадь. 4 класс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47" y="2622196"/>
            <a:ext cx="1176024" cy="15147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4" descr="Изображение Секреты ВПР. Окружающий мир. 4 класс  Чудинова Е.В., Коханович Д.В.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2648" y="4380190"/>
            <a:ext cx="1151148" cy="14774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9293853" y="1810385"/>
            <a:ext cx="23212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u="sng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6"/>
              </a:rPr>
              <a:t>https://shop.prosv.ru/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9" name="Picture 13" descr="Изображение Смысловое чтение. Читаю, понимаю, узнаю. 1 класс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769" y="2634427"/>
            <a:ext cx="1119653" cy="14697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 descr="Изображение Формирование навыков смыслового чтения на уроках литературного чтения. Тетрадь-тренажер. 3 класс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6694" y="4380190"/>
            <a:ext cx="1085526" cy="14774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Рисунок 5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234B2707-3D68-4B31-B9FA-9EBE92B2F15F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9954" y="2622196"/>
            <a:ext cx="1160557" cy="15412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6" name="Picture 2" descr="Изображение Русский язык. Тетрадка-плюс. 1 класс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769" y="1060219"/>
            <a:ext cx="1041085" cy="13764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" descr="http://qrcoder.ru/code/?https%3A%2F%2Fshop.prosv.ru%2Fkatalog%23%2Forderby%3D5%26sFilters%3D4%212304%3B13%2117879%3B&amp;8&amp;0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2682" y="2164705"/>
            <a:ext cx="1128193" cy="1128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2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077829" y="2030956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114943" y="1223952"/>
            <a:ext cx="397149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Широкий выбор </a:t>
            </a: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ривлекательные цены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в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официальном магазине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669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484" y="408857"/>
            <a:ext cx="7877615" cy="4885768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5807745" y="2332970"/>
            <a:ext cx="387943" cy="453735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>
            <a:off x="8035914" y="1130404"/>
            <a:ext cx="3880718" cy="84638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Сервис для эффективного и самостоятельного освоения технологии заучивани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тихотворений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8584105" y="462113"/>
            <a:ext cx="3777024" cy="4987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en-US" sz="2800" b="1" dirty="0" err="1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чим</a:t>
            </a:r>
            <a:r>
              <a:rPr lang="en-US" sz="28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en-US" sz="2800" b="1" dirty="0" err="1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тихи</a:t>
            </a:r>
            <a:endParaRPr lang="en-US" sz="2800" b="1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10" name="TextBox 10"/>
          <p:cNvSpPr txBox="1"/>
          <p:nvPr/>
        </p:nvSpPr>
        <p:spPr>
          <a:xfrm>
            <a:off x="8147195" y="2073572"/>
            <a:ext cx="3880718" cy="31034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Задача</a:t>
            </a: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:</a:t>
            </a: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</a:pP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помоч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школьникам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легко и успешно заучить стихотворение с опорой: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97741" lvl="1" indent="-228611">
              <a:lnSpc>
                <a:spcPts val="2193"/>
              </a:lnSpc>
              <a:buFont typeface="Arial" panose="020B0604020202020204" pitchFamily="34" charset="0"/>
              <a:buChar char="•"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на</a:t>
            </a:r>
            <a:r>
              <a:rPr lang="ru-RU" sz="1566" b="1" spc="31" dirty="0">
                <a:solidFill>
                  <a:srgbClr val="14110F"/>
                </a:solidFill>
                <a:latin typeface="Lato"/>
              </a:rPr>
              <a:t> определение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эмоционального тона   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тихотворения</a:t>
            </a:r>
            <a:endParaRPr lang="ru-RU" sz="1566" spc="31" dirty="0">
              <a:solidFill>
                <a:srgbClr val="14110F"/>
              </a:solidFill>
              <a:latin typeface="Lato"/>
            </a:endParaRPr>
          </a:p>
          <a:p>
            <a:pPr marL="397741" lvl="1" indent="-228611">
              <a:lnSpc>
                <a:spcPts val="2193"/>
              </a:lnSpc>
              <a:buFont typeface="Arial" panose="020B0604020202020204" pitchFamily="34" charset="0"/>
              <a:buChar char="•"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на</a:t>
            </a:r>
            <a:r>
              <a:rPr lang="ru-RU" sz="1566" b="1" spc="31" dirty="0">
                <a:solidFill>
                  <a:srgbClr val="14110F"/>
                </a:solidFill>
                <a:latin typeface="Lato Bold"/>
              </a:rPr>
              <a:t> </a:t>
            </a: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осмысление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содержания</a:t>
            </a:r>
          </a:p>
          <a:p>
            <a:pPr marL="397741" lvl="1" indent="-228611">
              <a:lnSpc>
                <a:spcPts val="2193"/>
              </a:lnSpc>
              <a:buFont typeface="Arial" panose="020B0604020202020204" pitchFamily="34" charset="0"/>
              <a:buChar char="•"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на </a:t>
            </a:r>
            <a:r>
              <a:rPr lang="ru-RU" sz="1566" b="1" spc="31" dirty="0">
                <a:solidFill>
                  <a:srgbClr val="14110F"/>
                </a:solidFill>
                <a:latin typeface="Lato"/>
              </a:rPr>
              <a:t>восприятие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смысловых фрагментов 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  <a:spcBef>
                <a:spcPct val="0"/>
              </a:spcBef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001716" y="5424307"/>
            <a:ext cx="5709767" cy="846386"/>
          </a:xfrm>
          <a:prstGeom prst="rect">
            <a:avLst/>
          </a:prstGeom>
          <a:solidFill>
            <a:srgbClr val="E1EDFF"/>
          </a:solidFill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en-US" sz="1566" spc="31" dirty="0" err="1">
                <a:solidFill>
                  <a:srgbClr val="14110F"/>
                </a:solidFill>
                <a:latin typeface="Lato Bold"/>
              </a:rPr>
              <a:t>Результат</a:t>
            </a:r>
            <a:r>
              <a:rPr lang="en-US" sz="1566" spc="31" dirty="0" smtClean="0">
                <a:solidFill>
                  <a:srgbClr val="14110F"/>
                </a:solidFill>
                <a:latin typeface="Lato Bold"/>
              </a:rPr>
              <a:t>: 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у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школьников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возрастает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интерес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к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чтению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стихов наизуст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,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расширяетс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словарный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</a:t>
            </a:r>
            <a:r>
              <a:rPr lang="en-US" sz="1566" spc="31" dirty="0" err="1">
                <a:solidFill>
                  <a:srgbClr val="14110F"/>
                </a:solidFill>
                <a:latin typeface="Lato"/>
              </a:rPr>
              <a:t>запас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и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развивается эстетический вкус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6" name="TextBox 13"/>
          <p:cNvSpPr txBox="1"/>
          <p:nvPr/>
        </p:nvSpPr>
        <p:spPr>
          <a:xfrm>
            <a:off x="8940800" y="6360349"/>
            <a:ext cx="3063634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3"/>
              </a:lnSpc>
              <a:spcBef>
                <a:spcPct val="0"/>
              </a:spcBef>
            </a:pPr>
            <a:endParaRPr sz="1200" dirty="0"/>
          </a:p>
          <a:p>
            <a:pPr algn="r">
              <a:lnSpc>
                <a:spcPts val="1493"/>
              </a:lnSpc>
              <a:spcBef>
                <a:spcPct val="0"/>
              </a:spcBef>
            </a:pPr>
            <a:fld id="{5A92C971-3548-4A57-999D-DBC4D74A3EFA}" type="slidenum">
              <a:rPr lang="en-US" sz="1067">
                <a:solidFill>
                  <a:srgbClr val="000000"/>
                </a:solidFill>
                <a:latin typeface="Lato"/>
              </a:rPr>
              <a:pPr algn="r">
                <a:lnSpc>
                  <a:spcPts val="1493"/>
                </a:lnSpc>
                <a:spcBef>
                  <a:spcPct val="0"/>
                </a:spcBef>
              </a:pPr>
              <a:t>48</a:t>
            </a:fld>
            <a:endParaRPr lang="en-US" sz="1067" dirty="0">
              <a:solidFill>
                <a:srgbClr val="000000"/>
              </a:solidFill>
              <a:latin typeface="Lato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50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092219" y="1610518"/>
            <a:ext cx="548997" cy="548997"/>
            <a:chOff x="0" y="0"/>
            <a:chExt cx="1097995" cy="1097995"/>
          </a:xfrm>
        </p:grpSpPr>
        <p:pic>
          <p:nvPicPr>
            <p:cNvPr id="3" name="Picture 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4" name="TextBox 4"/>
            <p:cNvSpPr txBox="1"/>
            <p:nvPr/>
          </p:nvSpPr>
          <p:spPr>
            <a:xfrm>
              <a:off x="255008" y="313320"/>
              <a:ext cx="587975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en-US" sz="1921" dirty="0">
                  <a:solidFill>
                    <a:srgbClr val="FFFFFF"/>
                  </a:solidFill>
                  <a:latin typeface="Clear Sans Bold"/>
                </a:rPr>
                <a:t>1</a:t>
              </a:r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1092219" y="3233699"/>
            <a:ext cx="548997" cy="548997"/>
            <a:chOff x="0" y="0"/>
            <a:chExt cx="1097995" cy="1097995"/>
          </a:xfrm>
        </p:grpSpPr>
        <p:pic>
          <p:nvPicPr>
            <p:cNvPr id="6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7" name="TextBox 7"/>
            <p:cNvSpPr txBox="1"/>
            <p:nvPr/>
          </p:nvSpPr>
          <p:spPr>
            <a:xfrm>
              <a:off x="255008" y="313320"/>
              <a:ext cx="587975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en-US" sz="1921" dirty="0">
                  <a:solidFill>
                    <a:srgbClr val="FFFFFF"/>
                  </a:solidFill>
                  <a:latin typeface="Clear Sans Bold"/>
                </a:rPr>
                <a:t>2</a:t>
              </a:r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1066800" y="4672104"/>
            <a:ext cx="548997" cy="548997"/>
            <a:chOff x="0" y="0"/>
            <a:chExt cx="1097995" cy="1097995"/>
          </a:xfrm>
        </p:grpSpPr>
        <p:pic>
          <p:nvPicPr>
            <p:cNvPr id="9" name="Picture 9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10" name="TextBox 10"/>
            <p:cNvSpPr txBox="1"/>
            <p:nvPr/>
          </p:nvSpPr>
          <p:spPr>
            <a:xfrm>
              <a:off x="241774" y="313320"/>
              <a:ext cx="614447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en-US" sz="1921" dirty="0">
                  <a:solidFill>
                    <a:srgbClr val="FFFFFF"/>
                  </a:solidFill>
                  <a:latin typeface="Clear Sans Bold"/>
                </a:rPr>
                <a:t>3</a:t>
              </a:r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6775133" y="3243502"/>
            <a:ext cx="548997" cy="548997"/>
            <a:chOff x="0" y="0"/>
            <a:chExt cx="1097995" cy="1097995"/>
          </a:xfrm>
        </p:grpSpPr>
        <p:pic>
          <p:nvPicPr>
            <p:cNvPr id="19" name="Picture 1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20" name="TextBox 20"/>
            <p:cNvSpPr txBox="1"/>
            <p:nvPr/>
          </p:nvSpPr>
          <p:spPr>
            <a:xfrm>
              <a:off x="241774" y="313320"/>
              <a:ext cx="614447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ru-RU" sz="1921" dirty="0">
                  <a:solidFill>
                    <a:srgbClr val="FFFFFF"/>
                  </a:solidFill>
                  <a:latin typeface="Clear Sans Bold"/>
                </a:rPr>
                <a:t>5</a:t>
              </a:r>
              <a:endParaRPr lang="en-US" sz="1921" dirty="0">
                <a:solidFill>
                  <a:srgbClr val="FFFFFF"/>
                </a:solidFill>
                <a:latin typeface="Clear Sans Bold"/>
              </a:endParaRPr>
            </a:p>
          </p:txBody>
        </p:sp>
      </p:grpSp>
      <p:grpSp>
        <p:nvGrpSpPr>
          <p:cNvPr id="22" name="Group 22"/>
          <p:cNvGrpSpPr/>
          <p:nvPr/>
        </p:nvGrpSpPr>
        <p:grpSpPr>
          <a:xfrm>
            <a:off x="2032000" y="1560087"/>
            <a:ext cx="3975119" cy="1267824"/>
            <a:chOff x="0" y="-13335"/>
            <a:chExt cx="7950238" cy="2535649"/>
          </a:xfrm>
        </p:grpSpPr>
        <p:sp>
          <p:nvSpPr>
            <p:cNvPr id="23" name="TextBox 23"/>
            <p:cNvSpPr txBox="1"/>
            <p:nvPr/>
          </p:nvSpPr>
          <p:spPr>
            <a:xfrm>
              <a:off x="0" y="-13335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ru-RU" sz="1733" spc="35" dirty="0">
                  <a:solidFill>
                    <a:srgbClr val="191919"/>
                  </a:solidFill>
                  <a:latin typeface="Lato Bold"/>
                </a:rPr>
                <a:t>300</a:t>
              </a:r>
              <a:r>
                <a:rPr lang="en-US" sz="1733" spc="35" dirty="0">
                  <a:solidFill>
                    <a:srgbClr val="191919"/>
                  </a:solidFill>
                  <a:latin typeface="Lato Bold"/>
                </a:rPr>
                <a:t> + </a:t>
              </a:r>
              <a:r>
                <a:rPr lang="en-US" sz="1733" spc="35" dirty="0" err="1">
                  <a:solidFill>
                    <a:srgbClr val="191919"/>
                  </a:solidFill>
                  <a:latin typeface="Lato Bold"/>
                </a:rPr>
                <a:t>стихотворений</a:t>
              </a:r>
              <a:endParaRPr lang="en-US" sz="1733" spc="35" dirty="0">
                <a:solidFill>
                  <a:srgbClr val="191919"/>
                </a:solidFill>
                <a:latin typeface="Lato Bold"/>
              </a:endParaRPr>
            </a:p>
          </p:txBody>
        </p:sp>
        <p:sp>
          <p:nvSpPr>
            <p:cNvPr id="24" name="TextBox 24"/>
            <p:cNvSpPr txBox="1"/>
            <p:nvPr/>
          </p:nvSpPr>
          <p:spPr>
            <a:xfrm>
              <a:off x="0" y="675653"/>
              <a:ext cx="7950238" cy="184666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из ш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кольн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ой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 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программ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ы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 1</a:t>
              </a:r>
              <a:r>
                <a:rPr lang="en-US" sz="1600" dirty="0"/>
                <a:t> </a:t>
              </a:r>
              <a:r>
                <a:rPr lang="en-US" sz="1600" spc="36" dirty="0">
                  <a:solidFill>
                    <a:srgbClr val="14110F"/>
                  </a:solidFill>
                  <a:latin typeface="Lato"/>
                </a:rPr>
                <a:t>─</a:t>
              </a:r>
              <a:r>
                <a:rPr lang="en-US" sz="1600" dirty="0"/>
                <a:t> 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11 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классов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  <a:p>
              <a:pPr>
                <a:lnSpc>
                  <a:spcPts val="2400"/>
                </a:lnSpc>
              </a:pP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с 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удобным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 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фильтром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 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по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 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классу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,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  <a:p>
              <a:pPr>
                <a:lnSpc>
                  <a:spcPts val="2400"/>
                </a:lnSpc>
              </a:pP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автору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, 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названию, 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теме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 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или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 событию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2032000" y="3193039"/>
            <a:ext cx="3975119" cy="960047"/>
            <a:chOff x="0" y="-13335"/>
            <a:chExt cx="7950238" cy="1920092"/>
          </a:xfrm>
        </p:grpSpPr>
        <p:sp>
          <p:nvSpPr>
            <p:cNvPr id="28" name="TextBox 28"/>
            <p:cNvSpPr txBox="1"/>
            <p:nvPr/>
          </p:nvSpPr>
          <p:spPr>
            <a:xfrm>
              <a:off x="0" y="-13335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en-US" sz="1733" spc="35" dirty="0" err="1">
                  <a:solidFill>
                    <a:srgbClr val="191919"/>
                  </a:solidFill>
                  <a:latin typeface="Lato Bold"/>
                </a:rPr>
                <a:t>Иллюстрации</a:t>
              </a:r>
              <a:endParaRPr lang="en-US" sz="1733" spc="35" dirty="0">
                <a:solidFill>
                  <a:srgbClr val="191919"/>
                </a:solidFill>
                <a:latin typeface="Lato Bold"/>
              </a:endParaRPr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0" y="675652"/>
              <a:ext cx="7950238" cy="123110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к каждому смысловому фрагменту стихотворения</a:t>
              </a:r>
              <a:endParaRPr lang="en-US" sz="800" spc="16" dirty="0">
                <a:solidFill>
                  <a:srgbClr val="191919"/>
                </a:solidFill>
                <a:latin typeface="Lato"/>
              </a:endParaRPr>
            </a:p>
          </p:txBody>
        </p:sp>
      </p:grpSp>
      <p:grpSp>
        <p:nvGrpSpPr>
          <p:cNvPr id="30" name="Group 30"/>
          <p:cNvGrpSpPr/>
          <p:nvPr/>
        </p:nvGrpSpPr>
        <p:grpSpPr>
          <a:xfrm>
            <a:off x="2052541" y="4652951"/>
            <a:ext cx="3975119" cy="652271"/>
            <a:chOff x="0" y="-13335"/>
            <a:chExt cx="7950238" cy="1304540"/>
          </a:xfrm>
        </p:grpSpPr>
        <p:sp>
          <p:nvSpPr>
            <p:cNvPr id="31" name="TextBox 31"/>
            <p:cNvSpPr txBox="1"/>
            <p:nvPr/>
          </p:nvSpPr>
          <p:spPr>
            <a:xfrm>
              <a:off x="0" y="-13335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en-US" sz="1733" spc="35" dirty="0" err="1">
                  <a:solidFill>
                    <a:srgbClr val="191919"/>
                  </a:solidFill>
                  <a:latin typeface="Lato Bold"/>
                </a:rPr>
                <a:t>Аудио</a:t>
              </a:r>
              <a:r>
                <a:rPr lang="ru-RU" sz="1733" spc="35" dirty="0">
                  <a:solidFill>
                    <a:srgbClr val="191919"/>
                  </a:solidFill>
                  <a:latin typeface="Lato Bold"/>
                </a:rPr>
                <a:t>библиотека</a:t>
              </a:r>
              <a:endParaRPr lang="en-US" sz="1733" spc="35" dirty="0">
                <a:solidFill>
                  <a:srgbClr val="191919"/>
                </a:solidFill>
                <a:latin typeface="Lato Bold"/>
              </a:endParaRPr>
            </a:p>
          </p:txBody>
        </p:sp>
        <p:sp>
          <p:nvSpPr>
            <p:cNvPr id="32" name="TextBox 32"/>
            <p:cNvSpPr txBox="1"/>
            <p:nvPr/>
          </p:nvSpPr>
          <p:spPr>
            <a:xfrm>
              <a:off x="0" y="675652"/>
              <a:ext cx="7950238" cy="61555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п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рофессиональн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ого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 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прочтения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</p:txBody>
        </p:sp>
      </p:grpSp>
      <p:grpSp>
        <p:nvGrpSpPr>
          <p:cNvPr id="33" name="Group 33"/>
          <p:cNvGrpSpPr/>
          <p:nvPr/>
        </p:nvGrpSpPr>
        <p:grpSpPr>
          <a:xfrm>
            <a:off x="7721600" y="3133706"/>
            <a:ext cx="3975119" cy="960047"/>
            <a:chOff x="0" y="-13335"/>
            <a:chExt cx="7950238" cy="1920093"/>
          </a:xfrm>
        </p:grpSpPr>
        <p:sp>
          <p:nvSpPr>
            <p:cNvPr id="34" name="TextBox 34"/>
            <p:cNvSpPr txBox="1"/>
            <p:nvPr/>
          </p:nvSpPr>
          <p:spPr>
            <a:xfrm>
              <a:off x="0" y="-13335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ru-RU" sz="1733" spc="35" dirty="0">
                  <a:solidFill>
                    <a:srgbClr val="191919"/>
                  </a:solidFill>
                  <a:latin typeface="Lato Bold"/>
                </a:rPr>
                <a:t>Алгоритм</a:t>
              </a:r>
              <a:endParaRPr lang="en-US" sz="1733" spc="35" dirty="0">
                <a:solidFill>
                  <a:srgbClr val="191919"/>
                </a:solidFill>
                <a:latin typeface="Lato Bold"/>
              </a:endParaRPr>
            </a:p>
          </p:txBody>
        </p:sp>
        <p:sp>
          <p:nvSpPr>
            <p:cNvPr id="35" name="TextBox 35"/>
            <p:cNvSpPr txBox="1"/>
            <p:nvPr/>
          </p:nvSpPr>
          <p:spPr>
            <a:xfrm>
              <a:off x="0" y="675653"/>
              <a:ext cx="7950238" cy="123110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для заучивания, ориентированный </a:t>
              </a:r>
              <a:br>
                <a:rPr lang="ru-RU" sz="1600" spc="32" dirty="0">
                  <a:solidFill>
                    <a:srgbClr val="191919"/>
                  </a:solidFill>
                  <a:latin typeface="Lato"/>
                </a:rPr>
              </a:b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на разные виды памяти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</p:txBody>
        </p:sp>
      </p:grpSp>
      <p:grpSp>
        <p:nvGrpSpPr>
          <p:cNvPr id="64" name="Group 18"/>
          <p:cNvGrpSpPr/>
          <p:nvPr/>
        </p:nvGrpSpPr>
        <p:grpSpPr>
          <a:xfrm>
            <a:off x="6775133" y="4667144"/>
            <a:ext cx="548997" cy="548997"/>
            <a:chOff x="0" y="0"/>
            <a:chExt cx="1097995" cy="1097995"/>
          </a:xfrm>
        </p:grpSpPr>
        <p:pic>
          <p:nvPicPr>
            <p:cNvPr id="65" name="Picture 19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66" name="TextBox 20"/>
            <p:cNvSpPr txBox="1"/>
            <p:nvPr/>
          </p:nvSpPr>
          <p:spPr>
            <a:xfrm>
              <a:off x="241774" y="313320"/>
              <a:ext cx="614447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ru-RU" sz="1921" dirty="0">
                  <a:solidFill>
                    <a:srgbClr val="FFFFFF"/>
                  </a:solidFill>
                  <a:latin typeface="Clear Sans Bold"/>
                </a:rPr>
                <a:t>6</a:t>
              </a:r>
              <a:endParaRPr lang="en-US" sz="1921" dirty="0">
                <a:solidFill>
                  <a:srgbClr val="FFFFFF"/>
                </a:solidFill>
                <a:latin typeface="Clear Sans Bold"/>
              </a:endParaRPr>
            </a:p>
          </p:txBody>
        </p:sp>
      </p:grpSp>
      <p:grpSp>
        <p:nvGrpSpPr>
          <p:cNvPr id="67" name="Group 33"/>
          <p:cNvGrpSpPr/>
          <p:nvPr/>
        </p:nvGrpSpPr>
        <p:grpSpPr>
          <a:xfrm>
            <a:off x="7721600" y="4653353"/>
            <a:ext cx="3975119" cy="960047"/>
            <a:chOff x="0" y="-13335"/>
            <a:chExt cx="7950238" cy="1920096"/>
          </a:xfrm>
        </p:grpSpPr>
        <p:sp>
          <p:nvSpPr>
            <p:cNvPr id="68" name="TextBox 34"/>
            <p:cNvSpPr txBox="1"/>
            <p:nvPr/>
          </p:nvSpPr>
          <p:spPr>
            <a:xfrm>
              <a:off x="0" y="-13335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ru-RU" sz="1733" spc="35" dirty="0">
                  <a:solidFill>
                    <a:srgbClr val="191919"/>
                  </a:solidFill>
                  <a:latin typeface="Lato Bold"/>
                </a:rPr>
                <a:t>Плеер</a:t>
              </a:r>
              <a:endParaRPr lang="en-US" sz="1733" spc="35" dirty="0">
                <a:solidFill>
                  <a:srgbClr val="191919"/>
                </a:solidFill>
                <a:latin typeface="Lato Bold"/>
              </a:endParaRPr>
            </a:p>
          </p:txBody>
        </p:sp>
        <p:sp>
          <p:nvSpPr>
            <p:cNvPr id="69" name="TextBox 35"/>
            <p:cNvSpPr txBox="1"/>
            <p:nvPr/>
          </p:nvSpPr>
          <p:spPr>
            <a:xfrm>
              <a:off x="0" y="675654"/>
              <a:ext cx="7950238" cy="123110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с функцией повтора смысловых фрагментов стихотворения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</p:txBody>
        </p:sp>
      </p:grpSp>
      <p:grpSp>
        <p:nvGrpSpPr>
          <p:cNvPr id="37" name="Group 18"/>
          <p:cNvGrpSpPr/>
          <p:nvPr/>
        </p:nvGrpSpPr>
        <p:grpSpPr>
          <a:xfrm>
            <a:off x="6775133" y="1643141"/>
            <a:ext cx="548997" cy="548997"/>
            <a:chOff x="0" y="0"/>
            <a:chExt cx="1097995" cy="1097995"/>
          </a:xfrm>
        </p:grpSpPr>
        <p:pic>
          <p:nvPicPr>
            <p:cNvPr id="38" name="Picture 19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39" name="TextBox 20"/>
            <p:cNvSpPr txBox="1"/>
            <p:nvPr/>
          </p:nvSpPr>
          <p:spPr>
            <a:xfrm>
              <a:off x="241774" y="313320"/>
              <a:ext cx="614447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en-US" sz="1921" dirty="0">
                  <a:solidFill>
                    <a:srgbClr val="FFFFFF"/>
                  </a:solidFill>
                  <a:latin typeface="Clear Sans Bold"/>
                </a:rPr>
                <a:t>4</a:t>
              </a:r>
            </a:p>
          </p:txBody>
        </p:sp>
      </p:grpSp>
      <p:grpSp>
        <p:nvGrpSpPr>
          <p:cNvPr id="40" name="Group 33"/>
          <p:cNvGrpSpPr/>
          <p:nvPr/>
        </p:nvGrpSpPr>
        <p:grpSpPr>
          <a:xfrm>
            <a:off x="7721600" y="1571338"/>
            <a:ext cx="3975119" cy="652271"/>
            <a:chOff x="0" y="-113699"/>
            <a:chExt cx="7950238" cy="1304540"/>
          </a:xfrm>
        </p:grpSpPr>
        <p:sp>
          <p:nvSpPr>
            <p:cNvPr id="41" name="TextBox 34"/>
            <p:cNvSpPr txBox="1"/>
            <p:nvPr/>
          </p:nvSpPr>
          <p:spPr>
            <a:xfrm>
              <a:off x="0" y="-113699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ru-RU" sz="1733" spc="35" dirty="0">
                  <a:solidFill>
                    <a:srgbClr val="191919"/>
                  </a:solidFill>
                  <a:latin typeface="Lato Bold"/>
                </a:rPr>
                <a:t>Комментарии</a:t>
              </a:r>
              <a:endParaRPr lang="en-US" sz="1733" spc="35" dirty="0">
                <a:solidFill>
                  <a:srgbClr val="191919"/>
                </a:solidFill>
                <a:latin typeface="Lato Bold"/>
              </a:endParaRPr>
            </a:p>
          </p:txBody>
        </p:sp>
        <p:sp>
          <p:nvSpPr>
            <p:cNvPr id="42" name="TextBox 35"/>
            <p:cNvSpPr txBox="1"/>
            <p:nvPr/>
          </p:nvSpPr>
          <p:spPr>
            <a:xfrm>
              <a:off x="0" y="575288"/>
              <a:ext cx="7950238" cy="61555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для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 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пояснения трудных </a:t>
              </a:r>
              <a:r>
                <a:rPr lang="en-US" sz="1600" spc="32" dirty="0" err="1">
                  <a:solidFill>
                    <a:srgbClr val="191919"/>
                  </a:solidFill>
                  <a:latin typeface="Lato"/>
                </a:rPr>
                <a:t>слов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</p:txBody>
        </p:sp>
      </p:grpSp>
      <p:sp>
        <p:nvSpPr>
          <p:cNvPr id="47" name="TextBox 13"/>
          <p:cNvSpPr txBox="1"/>
          <p:nvPr/>
        </p:nvSpPr>
        <p:spPr>
          <a:xfrm>
            <a:off x="8940800" y="6360349"/>
            <a:ext cx="3063634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3"/>
              </a:lnSpc>
              <a:spcBef>
                <a:spcPct val="0"/>
              </a:spcBef>
            </a:pPr>
            <a:endParaRPr sz="1200" dirty="0"/>
          </a:p>
          <a:p>
            <a:pPr algn="r">
              <a:lnSpc>
                <a:spcPts val="1493"/>
              </a:lnSpc>
              <a:spcBef>
                <a:spcPct val="0"/>
              </a:spcBef>
            </a:pPr>
            <a:fld id="{5A92C971-3548-4A57-999D-DBC4D74A3EFA}" type="slidenum">
              <a:rPr lang="en-US" sz="1067">
                <a:solidFill>
                  <a:srgbClr val="000000"/>
                </a:solidFill>
                <a:latin typeface="Lato"/>
              </a:rPr>
              <a:pPr algn="r">
                <a:lnSpc>
                  <a:spcPts val="1493"/>
                </a:lnSpc>
                <a:spcBef>
                  <a:spcPct val="0"/>
                </a:spcBef>
              </a:pPr>
              <a:t>49</a:t>
            </a:fld>
            <a:endParaRPr lang="en-US" sz="1067" dirty="0">
              <a:solidFill>
                <a:srgbClr val="000000"/>
              </a:solidFill>
              <a:latin typeface="Lato"/>
            </a:endParaRPr>
          </a:p>
        </p:txBody>
      </p:sp>
      <p:sp>
        <p:nvSpPr>
          <p:cNvPr id="45" name="TextBox 25"/>
          <p:cNvSpPr txBox="1"/>
          <p:nvPr/>
        </p:nvSpPr>
        <p:spPr>
          <a:xfrm>
            <a:off x="1415915" y="9910"/>
            <a:ext cx="5990761" cy="6640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>
              <a:lnSpc>
                <a:spcPts val="6240"/>
              </a:lnSpc>
              <a:spcBef>
                <a:spcPct val="0"/>
              </a:spcBef>
              <a:defRPr sz="2800" b="1" spc="-48">
                <a:solidFill>
                  <a:srgbClr val="243D6D"/>
                </a:solidFill>
                <a:latin typeface="Lato"/>
              </a:defRPr>
            </a:lvl1pPr>
          </a:lstStyle>
          <a:p>
            <a:r>
              <a:rPr lang="en-US" sz="2000" dirty="0" err="1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Что</a:t>
            </a:r>
            <a:r>
              <a:rPr lang="en-US" sz="2000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en-US" sz="2000" dirty="0" err="1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внутри</a:t>
            </a:r>
            <a:r>
              <a:rPr lang="en-US" sz="2000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en-US" sz="2000" dirty="0" err="1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сервиса</a:t>
            </a:r>
            <a:r>
              <a:rPr lang="en-US" sz="2000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?</a:t>
            </a:r>
          </a:p>
        </p:txBody>
      </p:sp>
      <p:grpSp>
        <p:nvGrpSpPr>
          <p:cNvPr id="43" name="Группа 42"/>
          <p:cNvGrpSpPr/>
          <p:nvPr/>
        </p:nvGrpSpPr>
        <p:grpSpPr>
          <a:xfrm>
            <a:off x="160465" y="129830"/>
            <a:ext cx="845973" cy="292517"/>
            <a:chOff x="254665" y="195486"/>
            <a:chExt cx="951720" cy="329081"/>
          </a:xfrm>
        </p:grpSpPr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168903" y="-1978"/>
            <a:ext cx="0" cy="40284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804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3050" y="809114"/>
            <a:ext cx="12188950" cy="911393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753355" y="773137"/>
            <a:ext cx="1043864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 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астоящее время </a:t>
            </a: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едеральный перечень </a:t>
            </a:r>
            <a:r>
              <a:rPr lang="ru-RU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чебников 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(Приказ </a:t>
            </a:r>
            <a:r>
              <a:rPr lang="ru-RU" dirty="0" err="1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инпросвещения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России от 20 мая 2020 года № </a:t>
            </a: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254) </a:t>
            </a: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е содержит учебников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, прошедших экспертизу на соответствие требованиям обновленных </a:t>
            </a: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ГОС 2021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. 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762" y="4468318"/>
            <a:ext cx="3407839" cy="2024948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762" y="1845156"/>
            <a:ext cx="3353764" cy="3018755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2069" y="2952437"/>
            <a:ext cx="3285291" cy="3314590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sp>
        <p:nvSpPr>
          <p:cNvPr id="8" name="Прямоугольник 7"/>
          <p:cNvSpPr/>
          <p:nvPr/>
        </p:nvSpPr>
        <p:spPr>
          <a:xfrm>
            <a:off x="6579908" y="2077912"/>
            <a:ext cx="5373280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</a:rPr>
              <a:t>В период перехода </a:t>
            </a:r>
            <a:r>
              <a:rPr lang="ru-RU" dirty="0">
                <a:solidFill>
                  <a:srgbClr val="000000"/>
                </a:solidFill>
              </a:rPr>
              <a:t>на обновленные ФГОС </a:t>
            </a:r>
            <a:r>
              <a:rPr lang="ru-RU" dirty="0" smtClean="0">
                <a:solidFill>
                  <a:srgbClr val="000000"/>
                </a:solidFill>
              </a:rPr>
              <a:t>2021* </a:t>
            </a:r>
          </a:p>
          <a:p>
            <a:endParaRPr lang="ru-RU" dirty="0" smtClean="0">
              <a:solidFill>
                <a:srgbClr val="000000"/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0000"/>
                </a:solidFill>
              </a:rPr>
              <a:t>могут </a:t>
            </a:r>
            <a:r>
              <a:rPr lang="ru-RU" dirty="0">
                <a:solidFill>
                  <a:srgbClr val="000000"/>
                </a:solidFill>
              </a:rPr>
              <a:t>быть использованы </a:t>
            </a:r>
            <a:r>
              <a:rPr lang="ru-RU" b="1" u="sng" dirty="0">
                <a:solidFill>
                  <a:srgbClr val="000000"/>
                </a:solidFill>
              </a:rPr>
              <a:t>любые учебно-методические комплекты</a:t>
            </a:r>
            <a:r>
              <a:rPr lang="ru-RU" b="1" dirty="0">
                <a:solidFill>
                  <a:srgbClr val="000000"/>
                </a:solidFill>
              </a:rPr>
              <a:t>, включенные в федеральный перечень учебников</a:t>
            </a:r>
            <a:r>
              <a:rPr lang="ru-RU" dirty="0">
                <a:solidFill>
                  <a:srgbClr val="000000"/>
                </a:solidFill>
              </a:rPr>
              <a:t>. </a:t>
            </a:r>
            <a:endParaRPr lang="ru-RU" dirty="0" smtClean="0">
              <a:solidFill>
                <a:srgbClr val="000000"/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0000"/>
                </a:solidFill>
              </a:rPr>
              <a:t>особое </a:t>
            </a:r>
            <a:r>
              <a:rPr lang="ru-RU" dirty="0">
                <a:solidFill>
                  <a:srgbClr val="000000"/>
                </a:solidFill>
              </a:rPr>
              <a:t>внимание должно быть уделено изменению методики преподавания учебных предметов </a:t>
            </a:r>
            <a:r>
              <a:rPr lang="ru-RU" b="1" u="sng" dirty="0">
                <a:solidFill>
                  <a:srgbClr val="000000"/>
                </a:solidFill>
              </a:rPr>
              <a:t>при</a:t>
            </a:r>
            <a:r>
              <a:rPr lang="ru-RU" u="sng" dirty="0">
                <a:solidFill>
                  <a:srgbClr val="000000"/>
                </a:solidFill>
              </a:rPr>
              <a:t> </a:t>
            </a:r>
            <a:r>
              <a:rPr lang="ru-RU" b="1" u="sng" dirty="0"/>
              <a:t>одновременном использовании дополнительных учебных</a:t>
            </a:r>
            <a:r>
              <a:rPr lang="ru-RU" b="1" dirty="0"/>
              <a:t>, дидактических </a:t>
            </a:r>
            <a:r>
              <a:rPr lang="ru-RU" b="1" u="sng" dirty="0"/>
              <a:t>материалов</a:t>
            </a:r>
            <a:r>
              <a:rPr lang="ru-RU" b="1" dirty="0"/>
              <a:t>, ориентированных на формирование предметных, </a:t>
            </a:r>
            <a:r>
              <a:rPr lang="ru-RU" b="1" dirty="0" err="1"/>
              <a:t>метапредметных</a:t>
            </a:r>
            <a:r>
              <a:rPr lang="ru-RU" b="1" dirty="0"/>
              <a:t> и личностных </a:t>
            </a:r>
            <a:r>
              <a:rPr lang="ru-RU" b="1" dirty="0" smtClean="0"/>
              <a:t>результатов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ru-RU" b="1" dirty="0"/>
          </a:p>
          <a:p>
            <a:pPr>
              <a:spcAft>
                <a:spcPts val="1200"/>
              </a:spcAft>
            </a:pPr>
            <a:r>
              <a:rPr lang="ru-RU" sz="1000" dirty="0" smtClean="0"/>
              <a:t>* </a:t>
            </a:r>
            <a:r>
              <a:rPr lang="ru-RU" sz="1000" i="1" dirty="0" smtClean="0"/>
              <a:t>Письмо </a:t>
            </a:r>
            <a:r>
              <a:rPr lang="ru-RU" sz="1000" i="1" dirty="0" err="1" smtClean="0"/>
              <a:t>Минпросвещения</a:t>
            </a:r>
            <a:r>
              <a:rPr lang="ru-RU" sz="1000" i="1" dirty="0" smtClean="0"/>
              <a:t> России от 11.11.2021 № 03-1899 «Об обеспечении учебными изданиями (учебниками и учебными пособиями) обучающихся в 2022/23 учебном году</a:t>
            </a:r>
            <a:endParaRPr lang="ru-RU" sz="1000" i="1" dirty="0"/>
          </a:p>
        </p:txBody>
      </p:sp>
      <p:sp>
        <p:nvSpPr>
          <p:cNvPr id="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881507" y="130382"/>
            <a:ext cx="8131567" cy="5640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416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Какие учебники использовать в переходный период?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0" y="797178"/>
            <a:ext cx="1753973" cy="900496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09593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8" t="21903" r="6829" b="22081"/>
          <a:stretch/>
        </p:blipFill>
        <p:spPr>
          <a:xfrm>
            <a:off x="2078223" y="1741896"/>
            <a:ext cx="7764372" cy="4001818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6"/>
          <a:stretch/>
        </p:blipFill>
        <p:spPr>
          <a:xfrm>
            <a:off x="3068479" y="1968752"/>
            <a:ext cx="5837315" cy="3308492"/>
          </a:xfrm>
          <a:prstGeom prst="rect">
            <a:avLst/>
          </a:prstGeom>
        </p:spPr>
      </p:pic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871FB6F1-5C88-4F60-877C-505567CA37F8}"/>
              </a:ext>
            </a:extLst>
          </p:cNvPr>
          <p:cNvCxnSpPr>
            <a:cxnSpLocks/>
          </p:cNvCxnSpPr>
          <p:nvPr/>
        </p:nvCxnSpPr>
        <p:spPr>
          <a:xfrm flipH="1">
            <a:off x="5530950" y="1712307"/>
            <a:ext cx="732660" cy="731252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E0092EED-2D0D-44C5-839D-652B2D301BB5}"/>
              </a:ext>
            </a:extLst>
          </p:cNvPr>
          <p:cNvSpPr txBox="1"/>
          <p:nvPr/>
        </p:nvSpPr>
        <p:spPr>
          <a:xfrm>
            <a:off x="6269768" y="1403782"/>
            <a:ext cx="1102257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33" dirty="0"/>
              <a:t>Комментари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89502E5-63F2-4994-AADC-698E4D646241}"/>
              </a:ext>
            </a:extLst>
          </p:cNvPr>
          <p:cNvSpPr txBox="1"/>
          <p:nvPr/>
        </p:nvSpPr>
        <p:spPr>
          <a:xfrm>
            <a:off x="4510461" y="1280671"/>
            <a:ext cx="1696977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33" dirty="0"/>
              <a:t>Алгоритм заучивания</a:t>
            </a:r>
          </a:p>
          <a:p>
            <a:pPr algn="ctr"/>
            <a:r>
              <a:rPr lang="ru-RU" sz="933" dirty="0"/>
              <a:t>стихотворения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50329C6-7EF3-42D1-97A0-CE51E40074EB}"/>
              </a:ext>
            </a:extLst>
          </p:cNvPr>
          <p:cNvSpPr txBox="1"/>
          <p:nvPr/>
        </p:nvSpPr>
        <p:spPr>
          <a:xfrm>
            <a:off x="3429979" y="1280671"/>
            <a:ext cx="1085555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933" dirty="0"/>
              <a:t>Распечатать текст</a:t>
            </a:r>
          </a:p>
          <a:p>
            <a:pPr algn="ctr"/>
            <a:r>
              <a:rPr lang="ru-RU" sz="933" dirty="0"/>
              <a:t>стихотворения</a:t>
            </a:r>
          </a:p>
        </p:txBody>
      </p: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9D8A2890-0054-4B20-9FB2-041DE4004DC8}"/>
              </a:ext>
            </a:extLst>
          </p:cNvPr>
          <p:cNvCxnSpPr>
            <a:cxnSpLocks/>
          </p:cNvCxnSpPr>
          <p:nvPr/>
        </p:nvCxnSpPr>
        <p:spPr>
          <a:xfrm flipH="1">
            <a:off x="5358950" y="1712307"/>
            <a:ext cx="1478" cy="731252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944F7917-1EBB-40DE-98F8-63C0FB7AA720}"/>
              </a:ext>
            </a:extLst>
          </p:cNvPr>
          <p:cNvCxnSpPr>
            <a:cxnSpLocks/>
          </p:cNvCxnSpPr>
          <p:nvPr/>
        </p:nvCxnSpPr>
        <p:spPr>
          <a:xfrm>
            <a:off x="4478542" y="1712307"/>
            <a:ext cx="716798" cy="731252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02A87F77-8229-4C42-96DE-D96D62B4221D}"/>
              </a:ext>
            </a:extLst>
          </p:cNvPr>
          <p:cNvCxnSpPr>
            <a:cxnSpLocks/>
          </p:cNvCxnSpPr>
          <p:nvPr/>
        </p:nvCxnSpPr>
        <p:spPr>
          <a:xfrm flipH="1">
            <a:off x="8418211" y="2559907"/>
            <a:ext cx="852349" cy="0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47A82025-2FD2-432C-862E-8FA8FEC3CF1A}"/>
              </a:ext>
            </a:extLst>
          </p:cNvPr>
          <p:cNvCxnSpPr>
            <a:cxnSpLocks/>
          </p:cNvCxnSpPr>
          <p:nvPr/>
        </p:nvCxnSpPr>
        <p:spPr>
          <a:xfrm flipH="1">
            <a:off x="8351089" y="5077287"/>
            <a:ext cx="911081" cy="0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8725E477-394F-4C94-9CC8-6E10ACE0E89F}"/>
              </a:ext>
            </a:extLst>
          </p:cNvPr>
          <p:cNvCxnSpPr>
            <a:cxnSpLocks/>
          </p:cNvCxnSpPr>
          <p:nvPr/>
        </p:nvCxnSpPr>
        <p:spPr>
          <a:xfrm flipH="1">
            <a:off x="8418211" y="3379844"/>
            <a:ext cx="852349" cy="0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88A819DA-EC39-4CFA-A548-7AEEA42C4C10}"/>
              </a:ext>
            </a:extLst>
          </p:cNvPr>
          <p:cNvCxnSpPr>
            <a:cxnSpLocks/>
          </p:cNvCxnSpPr>
          <p:nvPr/>
        </p:nvCxnSpPr>
        <p:spPr>
          <a:xfrm>
            <a:off x="2684236" y="2826571"/>
            <a:ext cx="855126" cy="0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id="{0AF89C4F-802B-4EB5-BD2E-5DCDB3F2DF9F}"/>
              </a:ext>
            </a:extLst>
          </p:cNvPr>
          <p:cNvCxnSpPr>
            <a:cxnSpLocks/>
          </p:cNvCxnSpPr>
          <p:nvPr/>
        </p:nvCxnSpPr>
        <p:spPr>
          <a:xfrm>
            <a:off x="2684236" y="4717663"/>
            <a:ext cx="964198" cy="0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42660877-B831-433A-9F59-579011AECC58}"/>
              </a:ext>
            </a:extLst>
          </p:cNvPr>
          <p:cNvSpPr txBox="1"/>
          <p:nvPr/>
        </p:nvSpPr>
        <p:spPr>
          <a:xfrm>
            <a:off x="1552805" y="2704574"/>
            <a:ext cx="1130438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33" dirty="0"/>
              <a:t>Прослушать аудио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5247900-4787-4DF7-8576-845925DB735D}"/>
              </a:ext>
            </a:extLst>
          </p:cNvPr>
          <p:cNvSpPr txBox="1"/>
          <p:nvPr/>
        </p:nvSpPr>
        <p:spPr>
          <a:xfrm>
            <a:off x="1501965" y="4510139"/>
            <a:ext cx="1116011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933" dirty="0"/>
              <a:t>Переход </a:t>
            </a:r>
            <a:br>
              <a:rPr lang="ru-RU" sz="933" dirty="0"/>
            </a:br>
            <a:r>
              <a:rPr lang="ru-RU" sz="933" dirty="0"/>
              <a:t>на страницу с ЭФУ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5D1EC64-2951-48D6-AFAE-EBE858E07FBB}"/>
              </a:ext>
            </a:extLst>
          </p:cNvPr>
          <p:cNvSpPr txBox="1"/>
          <p:nvPr/>
        </p:nvSpPr>
        <p:spPr>
          <a:xfrm>
            <a:off x="9401694" y="2437909"/>
            <a:ext cx="134524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33" dirty="0"/>
              <a:t>Добавить в </a:t>
            </a:r>
            <a:r>
              <a:rPr lang="en-US" sz="933" dirty="0"/>
              <a:t>И</a:t>
            </a:r>
            <a:r>
              <a:rPr lang="ru-RU" sz="933" dirty="0" err="1"/>
              <a:t>збранное</a:t>
            </a:r>
            <a:endParaRPr lang="ru-RU" sz="933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AC83DBE-FB3C-495F-9C04-844A9374BC66}"/>
              </a:ext>
            </a:extLst>
          </p:cNvPr>
          <p:cNvSpPr txBox="1"/>
          <p:nvPr/>
        </p:nvSpPr>
        <p:spPr>
          <a:xfrm>
            <a:off x="9314199" y="3176515"/>
            <a:ext cx="1045479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933" dirty="0"/>
              <a:t>Перелистывание</a:t>
            </a:r>
            <a:br>
              <a:rPr lang="ru-RU" sz="933" dirty="0"/>
            </a:br>
            <a:r>
              <a:rPr lang="ru-RU" sz="933" dirty="0"/>
              <a:t>иллюстраций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83B5DE0-E696-49B2-918B-558363567AD7}"/>
              </a:ext>
            </a:extLst>
          </p:cNvPr>
          <p:cNvSpPr txBox="1"/>
          <p:nvPr/>
        </p:nvSpPr>
        <p:spPr>
          <a:xfrm>
            <a:off x="9318372" y="4878362"/>
            <a:ext cx="1096775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933" dirty="0"/>
              <a:t>Регулировка </a:t>
            </a:r>
            <a:br>
              <a:rPr lang="ru-RU" sz="933" dirty="0"/>
            </a:br>
            <a:r>
              <a:rPr lang="ru-RU" sz="933" dirty="0"/>
              <a:t>уровня громкости</a:t>
            </a:r>
          </a:p>
        </p:txBody>
      </p:sp>
      <p:cxnSp>
        <p:nvCxnSpPr>
          <p:cNvPr id="61" name="Прямая со стрелкой 60">
            <a:extLst>
              <a:ext uri="{FF2B5EF4-FFF2-40B4-BE49-F238E27FC236}">
                <a16:creationId xmlns:a16="http://schemas.microsoft.com/office/drawing/2014/main" id="{2A57B4E4-ADD0-45FC-A830-11CDA1BCC731}"/>
              </a:ext>
            </a:extLst>
          </p:cNvPr>
          <p:cNvCxnSpPr>
            <a:cxnSpLocks/>
          </p:cNvCxnSpPr>
          <p:nvPr/>
        </p:nvCxnSpPr>
        <p:spPr>
          <a:xfrm flipV="1">
            <a:off x="4401051" y="5202961"/>
            <a:ext cx="1988" cy="705084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61">
            <a:extLst>
              <a:ext uri="{FF2B5EF4-FFF2-40B4-BE49-F238E27FC236}">
                <a16:creationId xmlns:a16="http://schemas.microsoft.com/office/drawing/2014/main" id="{9F5E3D3E-A3A1-4D97-9AF7-1A451F1A65E7}"/>
              </a:ext>
            </a:extLst>
          </p:cNvPr>
          <p:cNvCxnSpPr>
            <a:cxnSpLocks/>
          </p:cNvCxnSpPr>
          <p:nvPr/>
        </p:nvCxnSpPr>
        <p:spPr>
          <a:xfrm flipV="1">
            <a:off x="3487955" y="5202961"/>
            <a:ext cx="465235" cy="700399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>
            <a:extLst>
              <a:ext uri="{FF2B5EF4-FFF2-40B4-BE49-F238E27FC236}">
                <a16:creationId xmlns:a16="http://schemas.microsoft.com/office/drawing/2014/main" id="{4CCD9CED-0B34-4467-9C68-F7A13CC6DA18}"/>
              </a:ext>
            </a:extLst>
          </p:cNvPr>
          <p:cNvCxnSpPr>
            <a:cxnSpLocks/>
          </p:cNvCxnSpPr>
          <p:nvPr/>
        </p:nvCxnSpPr>
        <p:spPr>
          <a:xfrm flipH="1" flipV="1">
            <a:off x="4851083" y="5202961"/>
            <a:ext cx="520463" cy="700399"/>
          </a:xfrm>
          <a:prstGeom prst="straightConnector1">
            <a:avLst/>
          </a:prstGeom>
          <a:ln w="15875">
            <a:solidFill>
              <a:schemeClr val="accent2"/>
            </a:solidFill>
            <a:tailEnd type="stealth"/>
          </a:ln>
          <a:effectLst>
            <a:glow rad="63500">
              <a:schemeClr val="bg1">
                <a:alpha val="49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7F11E706-099B-4193-A150-D6FF29943CD4}"/>
              </a:ext>
            </a:extLst>
          </p:cNvPr>
          <p:cNvSpPr txBox="1"/>
          <p:nvPr/>
        </p:nvSpPr>
        <p:spPr>
          <a:xfrm>
            <a:off x="2397111" y="5845241"/>
            <a:ext cx="1098378" cy="3794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933" dirty="0"/>
              <a:t>Воспроизведение</a:t>
            </a:r>
            <a:br>
              <a:rPr lang="ru-RU" sz="933" dirty="0"/>
            </a:br>
            <a:r>
              <a:rPr lang="ru-RU" sz="933" dirty="0" err="1"/>
              <a:t>аудиотрека</a:t>
            </a:r>
            <a:endParaRPr lang="ru-RU" sz="933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5A92C76-3008-4F3C-8604-3DEAA54723B1}"/>
              </a:ext>
            </a:extLst>
          </p:cNvPr>
          <p:cNvSpPr txBox="1"/>
          <p:nvPr/>
        </p:nvSpPr>
        <p:spPr>
          <a:xfrm>
            <a:off x="4125975" y="5979739"/>
            <a:ext cx="550151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933" dirty="0"/>
              <a:t>Повтор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24C7AF11-B28C-41EB-BFED-CC67AFA8B082}"/>
              </a:ext>
            </a:extLst>
          </p:cNvPr>
          <p:cNvSpPr txBox="1"/>
          <p:nvPr/>
        </p:nvSpPr>
        <p:spPr>
          <a:xfrm>
            <a:off x="5378163" y="5979739"/>
            <a:ext cx="513282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933" dirty="0"/>
              <a:t>Метки</a:t>
            </a:r>
          </a:p>
        </p:txBody>
      </p:sp>
      <p:sp>
        <p:nvSpPr>
          <p:cNvPr id="37" name="TextBox 13"/>
          <p:cNvSpPr txBox="1"/>
          <p:nvPr/>
        </p:nvSpPr>
        <p:spPr>
          <a:xfrm>
            <a:off x="8940800" y="6360349"/>
            <a:ext cx="3063634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3"/>
              </a:lnSpc>
              <a:spcBef>
                <a:spcPct val="0"/>
              </a:spcBef>
            </a:pPr>
            <a:endParaRPr sz="1200" dirty="0"/>
          </a:p>
          <a:p>
            <a:pPr algn="r">
              <a:lnSpc>
                <a:spcPts val="1493"/>
              </a:lnSpc>
              <a:spcBef>
                <a:spcPct val="0"/>
              </a:spcBef>
            </a:pPr>
            <a:fld id="{5A92C971-3548-4A57-999D-DBC4D74A3EFA}" type="slidenum">
              <a:rPr lang="en-US" sz="1067">
                <a:solidFill>
                  <a:srgbClr val="000000"/>
                </a:solidFill>
                <a:latin typeface="Lato"/>
              </a:rPr>
              <a:pPr algn="r">
                <a:lnSpc>
                  <a:spcPts val="1493"/>
                </a:lnSpc>
                <a:spcBef>
                  <a:spcPct val="0"/>
                </a:spcBef>
              </a:pPr>
              <a:t>50</a:t>
            </a:fld>
            <a:endParaRPr lang="en-US" sz="1067" dirty="0">
              <a:solidFill>
                <a:srgbClr val="000000"/>
              </a:solidFill>
              <a:latin typeface="Lato"/>
            </a:endParaRPr>
          </a:p>
        </p:txBody>
      </p:sp>
      <p:sp>
        <p:nvSpPr>
          <p:cNvPr id="40" name="TextBox 25"/>
          <p:cNvSpPr txBox="1"/>
          <p:nvPr/>
        </p:nvSpPr>
        <p:spPr>
          <a:xfrm>
            <a:off x="2991756" y="451851"/>
            <a:ext cx="5990761" cy="6640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6240"/>
              </a:lnSpc>
              <a:spcBef>
                <a:spcPct val="0"/>
              </a:spcBef>
            </a:pPr>
            <a:r>
              <a:rPr lang="en-US" sz="2000" b="1" spc="-48" dirty="0" err="1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Что</a:t>
            </a:r>
            <a:r>
              <a:rPr lang="en-US" sz="2000" b="1" spc="-48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en-US" sz="2000" b="1" spc="-48" dirty="0" err="1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нутри</a:t>
            </a:r>
            <a:r>
              <a:rPr lang="en-US" sz="2000" b="1" spc="-48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en-US" sz="2000" b="1" spc="-48" dirty="0" err="1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виса</a:t>
            </a:r>
            <a:r>
              <a:rPr lang="en-US" sz="2000" b="1" spc="-48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?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160465" y="129830"/>
            <a:ext cx="845973" cy="292517"/>
            <a:chOff x="254665" y="195486"/>
            <a:chExt cx="951720" cy="329081"/>
          </a:xfrm>
        </p:grpSpPr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67" name="Прямая соединительная линия 66"/>
          <p:cNvCxnSpPr/>
          <p:nvPr/>
        </p:nvCxnSpPr>
        <p:spPr>
          <a:xfrm>
            <a:off x="1168903" y="-1978"/>
            <a:ext cx="0" cy="40284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6016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456" y="192002"/>
            <a:ext cx="6898945" cy="48351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13601" y="482600"/>
            <a:ext cx="2995627" cy="203128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3318" y="3073400"/>
            <a:ext cx="4823846" cy="32480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71771" y="3614143"/>
            <a:ext cx="2824806" cy="33812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9" name="Группа 8"/>
          <p:cNvGrpSpPr/>
          <p:nvPr/>
        </p:nvGrpSpPr>
        <p:grpSpPr>
          <a:xfrm>
            <a:off x="160465" y="129830"/>
            <a:ext cx="845973" cy="292517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24" name="Прямая соединительная линия 23"/>
          <p:cNvCxnSpPr/>
          <p:nvPr/>
        </p:nvCxnSpPr>
        <p:spPr>
          <a:xfrm>
            <a:off x="1168903" y="-1978"/>
            <a:ext cx="0" cy="40284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13"/>
          <p:cNvSpPr txBox="1"/>
          <p:nvPr/>
        </p:nvSpPr>
        <p:spPr>
          <a:xfrm>
            <a:off x="8940800" y="6360349"/>
            <a:ext cx="3063634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3"/>
              </a:lnSpc>
              <a:spcBef>
                <a:spcPct val="0"/>
              </a:spcBef>
            </a:pPr>
            <a:endParaRPr sz="1200" dirty="0"/>
          </a:p>
          <a:p>
            <a:pPr algn="r">
              <a:lnSpc>
                <a:spcPts val="1493"/>
              </a:lnSpc>
              <a:spcBef>
                <a:spcPct val="0"/>
              </a:spcBef>
            </a:pPr>
            <a:fld id="{5A92C971-3548-4A57-999D-DBC4D74A3EFA}" type="slidenum">
              <a:rPr lang="en-US" sz="1067">
                <a:solidFill>
                  <a:srgbClr val="000000"/>
                </a:solidFill>
                <a:latin typeface="Lato"/>
              </a:rPr>
              <a:pPr algn="r">
                <a:lnSpc>
                  <a:spcPts val="1493"/>
                </a:lnSpc>
                <a:spcBef>
                  <a:spcPct val="0"/>
                </a:spcBef>
              </a:pPr>
              <a:t>51</a:t>
            </a:fld>
            <a:endParaRPr lang="en-US" sz="1067" dirty="0">
              <a:solidFill>
                <a:srgbClr val="000000"/>
              </a:solidFill>
              <a:latin typeface="Lato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066660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b="37167"/>
          <a:stretch/>
        </p:blipFill>
        <p:spPr>
          <a:xfrm>
            <a:off x="1431654" y="691441"/>
            <a:ext cx="8749774" cy="36901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50329C6-7EF3-42D1-97A0-CE51E40074EB}"/>
              </a:ext>
            </a:extLst>
          </p:cNvPr>
          <p:cNvSpPr txBox="1"/>
          <p:nvPr/>
        </p:nvSpPr>
        <p:spPr>
          <a:xfrm>
            <a:off x="2474808" y="95786"/>
            <a:ext cx="152503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Распечатать текст</a:t>
            </a:r>
          </a:p>
          <a:p>
            <a:pPr algn="ctr"/>
            <a:r>
              <a:rPr lang="ru-RU" sz="1400" dirty="0"/>
              <a:t>стихотворения</a:t>
            </a:r>
          </a:p>
        </p:txBody>
      </p:sp>
      <p:sp>
        <p:nvSpPr>
          <p:cNvPr id="22" name="Скругленная прямоугольная выноска 21"/>
          <p:cNvSpPr/>
          <p:nvPr/>
        </p:nvSpPr>
        <p:spPr>
          <a:xfrm>
            <a:off x="2272322" y="103474"/>
            <a:ext cx="1803710" cy="500795"/>
          </a:xfrm>
          <a:prstGeom prst="wedgeRoundRectCallout">
            <a:avLst>
              <a:gd name="adj1" fmla="val 64978"/>
              <a:gd name="adj2" fmla="val 13407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4" name="Скругленная прямоугольная выноска 23"/>
          <p:cNvSpPr/>
          <p:nvPr/>
        </p:nvSpPr>
        <p:spPr>
          <a:xfrm>
            <a:off x="4356512" y="67316"/>
            <a:ext cx="2107888" cy="485412"/>
          </a:xfrm>
          <a:prstGeom prst="wedgeRoundRectCallout">
            <a:avLst>
              <a:gd name="adj1" fmla="val -32880"/>
              <a:gd name="adj2" fmla="val 140338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n w="0"/>
                <a:solidFill>
                  <a:schemeClr val="tx1"/>
                </a:solidFill>
              </a:rPr>
              <a:t>Анализ произведения. Алгоритм заучивания </a:t>
            </a:r>
          </a:p>
        </p:txBody>
      </p:sp>
      <p:sp>
        <p:nvSpPr>
          <p:cNvPr id="25" name="Скругленная прямоугольная выноска 24"/>
          <p:cNvSpPr/>
          <p:nvPr/>
        </p:nvSpPr>
        <p:spPr>
          <a:xfrm>
            <a:off x="6464401" y="549648"/>
            <a:ext cx="1547449" cy="400010"/>
          </a:xfrm>
          <a:prstGeom prst="wedgeRoundRectCallout">
            <a:avLst>
              <a:gd name="adj1" fmla="val -138830"/>
              <a:gd name="adj2" fmla="val 73660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n w="0"/>
                <a:solidFill>
                  <a:schemeClr val="tx1"/>
                </a:solidFill>
              </a:rPr>
              <a:t>Словарная работ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5247900-4787-4DF7-8576-845925DB735D}"/>
              </a:ext>
            </a:extLst>
          </p:cNvPr>
          <p:cNvSpPr txBox="1"/>
          <p:nvPr/>
        </p:nvSpPr>
        <p:spPr>
          <a:xfrm>
            <a:off x="-12885" y="3289031"/>
            <a:ext cx="14278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Переход </a:t>
            </a:r>
            <a:br>
              <a:rPr lang="ru-RU" sz="1400" dirty="0"/>
            </a:br>
            <a:r>
              <a:rPr lang="ru-RU" sz="1400" dirty="0"/>
              <a:t>на страницу</a:t>
            </a:r>
          </a:p>
          <a:p>
            <a:pPr algn="ctr"/>
            <a:r>
              <a:rPr lang="ru-RU" sz="1400" dirty="0"/>
              <a:t> с ЭФУ</a:t>
            </a:r>
          </a:p>
        </p:txBody>
      </p:sp>
      <p:sp>
        <p:nvSpPr>
          <p:cNvPr id="27" name="Скругленная прямоугольная выноска 26"/>
          <p:cNvSpPr/>
          <p:nvPr/>
        </p:nvSpPr>
        <p:spPr>
          <a:xfrm>
            <a:off x="54222" y="3277780"/>
            <a:ext cx="1348002" cy="733661"/>
          </a:xfrm>
          <a:prstGeom prst="wedgeRoundRectCallout">
            <a:avLst>
              <a:gd name="adj1" fmla="val 68625"/>
              <a:gd name="adj2" fmla="val 4373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1654" y="4380456"/>
            <a:ext cx="8749774" cy="11049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F11E706-099B-4193-A150-D6FF29943CD4}"/>
              </a:ext>
            </a:extLst>
          </p:cNvPr>
          <p:cNvSpPr txBox="1"/>
          <p:nvPr/>
        </p:nvSpPr>
        <p:spPr>
          <a:xfrm>
            <a:off x="380077" y="4314516"/>
            <a:ext cx="15543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Воспроизведение</a:t>
            </a:r>
            <a:br>
              <a:rPr lang="ru-RU" sz="1400" dirty="0"/>
            </a:br>
            <a:r>
              <a:rPr lang="ru-RU" sz="1400" dirty="0" err="1"/>
              <a:t>аудиотрека</a:t>
            </a:r>
            <a:endParaRPr lang="ru-RU" sz="1400" dirty="0"/>
          </a:p>
        </p:txBody>
      </p:sp>
      <p:sp>
        <p:nvSpPr>
          <p:cNvPr id="29" name="Скругленная прямоугольная выноска 28"/>
          <p:cNvSpPr/>
          <p:nvPr/>
        </p:nvSpPr>
        <p:spPr>
          <a:xfrm>
            <a:off x="1740695" y="5942939"/>
            <a:ext cx="654636" cy="353824"/>
          </a:xfrm>
          <a:prstGeom prst="wedgeRoundRectCallout">
            <a:avLst>
              <a:gd name="adj1" fmla="val 102392"/>
              <a:gd name="adj2" fmla="val -277149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5A92C76-3008-4F3C-8604-3DEAA54723B1}"/>
              </a:ext>
            </a:extLst>
          </p:cNvPr>
          <p:cNvSpPr txBox="1"/>
          <p:nvPr/>
        </p:nvSpPr>
        <p:spPr>
          <a:xfrm>
            <a:off x="1740695" y="5942940"/>
            <a:ext cx="7341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Повтор</a:t>
            </a:r>
          </a:p>
        </p:txBody>
      </p:sp>
      <p:sp>
        <p:nvSpPr>
          <p:cNvPr id="33" name="Скругленная прямоугольная выноска 32"/>
          <p:cNvSpPr/>
          <p:nvPr/>
        </p:nvSpPr>
        <p:spPr>
          <a:xfrm>
            <a:off x="377046" y="4416140"/>
            <a:ext cx="1659534" cy="540371"/>
          </a:xfrm>
          <a:prstGeom prst="wedgeRoundRectCallout">
            <a:avLst>
              <a:gd name="adj1" fmla="val 46742"/>
              <a:gd name="adj2" fmla="val 9752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4C7AF11-B28C-41EB-BFED-CC67AFA8B082}"/>
              </a:ext>
            </a:extLst>
          </p:cNvPr>
          <p:cNvSpPr txBox="1"/>
          <p:nvPr/>
        </p:nvSpPr>
        <p:spPr>
          <a:xfrm>
            <a:off x="3737188" y="5812074"/>
            <a:ext cx="6776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Метки</a:t>
            </a:r>
          </a:p>
        </p:txBody>
      </p:sp>
      <p:sp>
        <p:nvSpPr>
          <p:cNvPr id="35" name="Скругленная прямоугольная выноска 34"/>
          <p:cNvSpPr/>
          <p:nvPr/>
        </p:nvSpPr>
        <p:spPr>
          <a:xfrm>
            <a:off x="3686308" y="5789051"/>
            <a:ext cx="728566" cy="330801"/>
          </a:xfrm>
          <a:prstGeom prst="wedgeRoundRectCallout">
            <a:avLst>
              <a:gd name="adj1" fmla="val -5405"/>
              <a:gd name="adj2" fmla="val -199277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160465" y="129830"/>
            <a:ext cx="845973" cy="292517"/>
            <a:chOff x="254665" y="195486"/>
            <a:chExt cx="951720" cy="329081"/>
          </a:xfrm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>
            <a:off x="1168903" y="-1978"/>
            <a:ext cx="0" cy="40284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13"/>
          <p:cNvSpPr txBox="1"/>
          <p:nvPr/>
        </p:nvSpPr>
        <p:spPr>
          <a:xfrm>
            <a:off x="8940800" y="6360349"/>
            <a:ext cx="3063634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3"/>
              </a:lnSpc>
              <a:spcBef>
                <a:spcPct val="0"/>
              </a:spcBef>
            </a:pPr>
            <a:endParaRPr sz="1200" dirty="0"/>
          </a:p>
          <a:p>
            <a:pPr algn="r">
              <a:lnSpc>
                <a:spcPts val="1493"/>
              </a:lnSpc>
              <a:spcBef>
                <a:spcPct val="0"/>
              </a:spcBef>
            </a:pPr>
            <a:fld id="{5A92C971-3548-4A57-999D-DBC4D74A3EFA}" type="slidenum">
              <a:rPr lang="en-US" sz="1067">
                <a:solidFill>
                  <a:srgbClr val="000000"/>
                </a:solidFill>
                <a:latin typeface="Lato"/>
              </a:rPr>
              <a:pPr algn="r">
                <a:lnSpc>
                  <a:spcPts val="1493"/>
                </a:lnSpc>
                <a:spcBef>
                  <a:spcPct val="0"/>
                </a:spcBef>
              </a:pPr>
              <a:t>52</a:t>
            </a:fld>
            <a:endParaRPr lang="en-US" sz="1067" dirty="0">
              <a:solidFill>
                <a:srgbClr val="000000"/>
              </a:solidFill>
              <a:latin typeface="Lato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64269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5108445" y="1346385"/>
            <a:ext cx="895200" cy="895200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>
            <a:off x="1339438" y="11520"/>
            <a:ext cx="7438023" cy="6640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>
              <a:lnSpc>
                <a:spcPts val="5904"/>
              </a:lnSpc>
              <a:defRPr sz="2800" b="1" spc="-48">
                <a:solidFill>
                  <a:srgbClr val="243D6D"/>
                </a:solidFill>
                <a:latin typeface="Lato"/>
              </a:defRPr>
            </a:lvl1pPr>
          </a:lstStyle>
          <a:p>
            <a:pPr>
              <a:lnSpc>
                <a:spcPts val="6240"/>
              </a:lnSpc>
              <a:spcBef>
                <a:spcPct val="0"/>
              </a:spcBef>
            </a:pPr>
            <a:r>
              <a:rPr lang="en-US" sz="2000" dirty="0" err="1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Как</a:t>
            </a:r>
            <a:r>
              <a:rPr lang="en-US" sz="2000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en-US" sz="2000" dirty="0" err="1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можно</a:t>
            </a:r>
            <a:r>
              <a:rPr lang="en-US" sz="2000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en-US" sz="2000" dirty="0" err="1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получить</a:t>
            </a:r>
            <a:r>
              <a:rPr lang="ru-RU" sz="2000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 доступ</a:t>
            </a:r>
            <a:r>
              <a:rPr lang="en-US" sz="2000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?</a:t>
            </a:r>
            <a:endParaRPr lang="en-US" sz="2000" dirty="0">
              <a:solidFill>
                <a:srgbClr val="2D2B8D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802640" y="1519376"/>
            <a:ext cx="4114800" cy="3590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800"/>
              </a:lnSpc>
            </a:pPr>
            <a:r>
              <a:rPr lang="ru-RU" sz="1600" dirty="0">
                <a:latin typeface="Lato Bold"/>
              </a:rPr>
              <a:t>Уже в продаже</a:t>
            </a:r>
            <a:endParaRPr lang="en-US" sz="1600" dirty="0">
              <a:latin typeface="Lato"/>
            </a:endParaRPr>
          </a:p>
        </p:txBody>
      </p:sp>
      <p:sp>
        <p:nvSpPr>
          <p:cNvPr id="18" name="TextBox 13"/>
          <p:cNvSpPr txBox="1"/>
          <p:nvPr/>
        </p:nvSpPr>
        <p:spPr>
          <a:xfrm>
            <a:off x="8940800" y="6360349"/>
            <a:ext cx="3063634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3"/>
              </a:lnSpc>
              <a:spcBef>
                <a:spcPct val="0"/>
              </a:spcBef>
            </a:pPr>
            <a:endParaRPr sz="1200" dirty="0"/>
          </a:p>
          <a:p>
            <a:pPr algn="r">
              <a:lnSpc>
                <a:spcPts val="1493"/>
              </a:lnSpc>
              <a:spcBef>
                <a:spcPct val="0"/>
              </a:spcBef>
            </a:pPr>
            <a:fld id="{5A92C971-3548-4A57-999D-DBC4D74A3EFA}" type="slidenum">
              <a:rPr lang="en-US" sz="1067">
                <a:solidFill>
                  <a:srgbClr val="000000"/>
                </a:solidFill>
                <a:latin typeface="Lato"/>
              </a:rPr>
              <a:pPr algn="r">
                <a:lnSpc>
                  <a:spcPts val="1493"/>
                </a:lnSpc>
                <a:spcBef>
                  <a:spcPct val="0"/>
                </a:spcBef>
              </a:pPr>
              <a:t>53</a:t>
            </a:fld>
            <a:endParaRPr lang="en-US" sz="1067" dirty="0">
              <a:solidFill>
                <a:srgbClr val="000000"/>
              </a:solidFill>
              <a:latin typeface="Lato"/>
            </a:endParaRPr>
          </a:p>
        </p:txBody>
      </p:sp>
      <p:sp>
        <p:nvSpPr>
          <p:cNvPr id="15" name="TextBox 9"/>
          <p:cNvSpPr txBox="1"/>
          <p:nvPr/>
        </p:nvSpPr>
        <p:spPr>
          <a:xfrm>
            <a:off x="827314" y="2521374"/>
            <a:ext cx="3708400" cy="107721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800"/>
              </a:lnSpc>
            </a:pPr>
            <a:r>
              <a:rPr lang="ru-RU" sz="1600" dirty="0">
                <a:latin typeface="Lato Bold"/>
              </a:rPr>
              <a:t>Способ закупки </a:t>
            </a:r>
            <a:endParaRPr lang="en-US" sz="1600" dirty="0">
              <a:latin typeface="Lato Bold"/>
            </a:endParaRPr>
          </a:p>
          <a:p>
            <a:pPr>
              <a:lnSpc>
                <a:spcPts val="2800"/>
              </a:lnSpc>
              <a:spcBef>
                <a:spcPct val="0"/>
              </a:spcBef>
            </a:pPr>
            <a:r>
              <a:rPr lang="ru-RU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Закупка у единственного поставщика </a:t>
            </a:r>
            <a:br>
              <a:rPr lang="ru-RU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</a:br>
            <a:r>
              <a:rPr lang="ru-RU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по № 44-ФЗ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1188" y="2521374"/>
            <a:ext cx="846512" cy="1269767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802640" y="3791141"/>
            <a:ext cx="3708400" cy="7181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Lato Bold" panose="020B0604020202020204" charset="0"/>
                <a:ea typeface="Lato Bold" panose="020B0604020202020204" charset="0"/>
                <a:cs typeface="Lato Bold" panose="020B0604020202020204" charset="0"/>
              </a:rPr>
              <a:t>Предмет закупки </a:t>
            </a:r>
            <a:endParaRPr lang="en-US" sz="1600" dirty="0">
              <a:solidFill>
                <a:prstClr val="black"/>
              </a:solidFill>
              <a:latin typeface="Lato"/>
            </a:endParaRPr>
          </a:p>
          <a:p>
            <a:pPr>
              <a:lnSpc>
                <a:spcPts val="2800"/>
              </a:lnSpc>
              <a:spcBef>
                <a:spcPct val="0"/>
              </a:spcBef>
            </a:pPr>
            <a:r>
              <a:rPr lang="ru-RU" sz="1600" dirty="0">
                <a:solidFill>
                  <a:prstClr val="black"/>
                </a:solidFill>
                <a:latin typeface="Lato"/>
              </a:rPr>
              <a:t>Программное обеспечение </a:t>
            </a:r>
            <a:r>
              <a:rPr lang="en-US" sz="1600" dirty="0">
                <a:solidFill>
                  <a:prstClr val="black"/>
                </a:solidFill>
                <a:latin typeface="Lato"/>
              </a:rPr>
              <a:t>(</a:t>
            </a:r>
            <a:r>
              <a:rPr lang="ru-RU" sz="1600" dirty="0">
                <a:solidFill>
                  <a:prstClr val="black"/>
                </a:solidFill>
                <a:latin typeface="Lato"/>
              </a:rPr>
              <a:t>ПО</a:t>
            </a:r>
            <a:r>
              <a:rPr lang="en-US" sz="1600" dirty="0">
                <a:solidFill>
                  <a:prstClr val="black"/>
                </a:solidFill>
                <a:latin typeface="Lato"/>
              </a:rPr>
              <a:t>)</a:t>
            </a:r>
          </a:p>
        </p:txBody>
      </p:sp>
      <p:sp>
        <p:nvSpPr>
          <p:cNvPr id="22" name="TextBox 8"/>
          <p:cNvSpPr txBox="1"/>
          <p:nvPr/>
        </p:nvSpPr>
        <p:spPr>
          <a:xfrm>
            <a:off x="6858001" y="2899140"/>
            <a:ext cx="4482919" cy="21544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800"/>
              </a:lnSpc>
            </a:pPr>
            <a:endParaRPr lang="ru-RU" sz="1600" dirty="0">
              <a:latin typeface="Lato Bold"/>
            </a:endParaRPr>
          </a:p>
          <a:p>
            <a:pPr>
              <a:lnSpc>
                <a:spcPts val="2800"/>
              </a:lnSpc>
            </a:pPr>
            <a:r>
              <a:rPr lang="en-US" sz="1600" dirty="0" err="1">
                <a:latin typeface="Lato Bold" panose="020B0604020202020204" charset="0"/>
                <a:ea typeface="Lato Bold" panose="020B0604020202020204" charset="0"/>
                <a:cs typeface="Lato Bold" panose="020B0604020202020204" charset="0"/>
              </a:rPr>
              <a:t>Информаци</a:t>
            </a:r>
            <a:r>
              <a:rPr lang="ru-RU" sz="1600" dirty="0">
                <a:latin typeface="Lato Bold" panose="020B0604020202020204" charset="0"/>
                <a:ea typeface="Lato Bold" panose="020B0604020202020204" charset="0"/>
                <a:cs typeface="Lato Bold" panose="020B0604020202020204" charset="0"/>
              </a:rPr>
              <a:t>я о продукте </a:t>
            </a:r>
          </a:p>
          <a:p>
            <a:pPr>
              <a:lnSpc>
                <a:spcPts val="2800"/>
              </a:lnSpc>
            </a:pPr>
            <a:r>
              <a:rPr lang="en-US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6"/>
              </a:rPr>
              <a:t>https</a:t>
            </a:r>
            <a:r>
              <a:rPr lang="ru-RU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6"/>
              </a:rPr>
              <a:t>://</a:t>
            </a:r>
            <a:r>
              <a:rPr lang="en-US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6"/>
              </a:rPr>
              <a:t>media</a:t>
            </a:r>
            <a:r>
              <a:rPr lang="ru-RU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6"/>
              </a:rPr>
              <a:t>.</a:t>
            </a:r>
            <a:r>
              <a:rPr lang="en-US" sz="1600" dirty="0" err="1"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6"/>
              </a:rPr>
              <a:t>prosv</a:t>
            </a:r>
            <a:r>
              <a:rPr lang="ru-RU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6"/>
              </a:rPr>
              <a:t>.</a:t>
            </a:r>
            <a:r>
              <a:rPr lang="en-US" sz="1600" dirty="0" err="1"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6"/>
              </a:rPr>
              <a:t>ru</a:t>
            </a:r>
            <a:r>
              <a:rPr lang="ru-RU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6"/>
              </a:rPr>
              <a:t>/</a:t>
            </a:r>
            <a:r>
              <a:rPr lang="en-US" sz="1600" dirty="0" err="1"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6"/>
              </a:rPr>
              <a:t>stihi</a:t>
            </a:r>
            <a:r>
              <a:rPr lang="ru-RU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6"/>
              </a:rPr>
              <a:t>/</a:t>
            </a:r>
            <a:endParaRPr lang="ru-RU" sz="1600" dirty="0"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  <a:p>
            <a:pPr>
              <a:lnSpc>
                <a:spcPts val="2800"/>
              </a:lnSpc>
              <a:spcBef>
                <a:spcPct val="0"/>
              </a:spcBef>
            </a:pPr>
            <a:endParaRPr lang="ru-RU" sz="1600" dirty="0">
              <a:latin typeface="Lato"/>
            </a:endParaRPr>
          </a:p>
          <a:p>
            <a:pPr>
              <a:lnSpc>
                <a:spcPts val="2800"/>
              </a:lnSpc>
              <a:spcBef>
                <a:spcPct val="0"/>
              </a:spcBef>
            </a:pPr>
            <a:r>
              <a:rPr lang="ru-RU" sz="1600" dirty="0">
                <a:latin typeface="Lato Bold" panose="020B0604020202020204" charset="0"/>
                <a:ea typeface="Lato Bold" panose="020B0604020202020204" charset="0"/>
                <a:cs typeface="Lato Bold" panose="020B0604020202020204" charset="0"/>
              </a:rPr>
              <a:t>Вопросы по тестированию и приобретению</a:t>
            </a:r>
          </a:p>
          <a:p>
            <a:pPr>
              <a:lnSpc>
                <a:spcPts val="2800"/>
              </a:lnSpc>
              <a:spcBef>
                <a:spcPct val="0"/>
              </a:spcBef>
            </a:pPr>
            <a:r>
              <a:rPr lang="en-US" sz="1600" dirty="0">
                <a:latin typeface="Lato Bold" panose="020B0604020202020204" charset="0"/>
                <a:ea typeface="Lato Bold" panose="020B0604020202020204" charset="0"/>
                <a:cs typeface="Lato Bold" panose="020B0604020202020204" charset="0"/>
              </a:rPr>
              <a:t>Email:</a:t>
            </a:r>
            <a:r>
              <a:rPr lang="en-US" sz="1600" dirty="0">
                <a:latin typeface="Lato"/>
              </a:rPr>
              <a:t> </a:t>
            </a:r>
            <a:r>
              <a:rPr lang="en-US" sz="1600" dirty="0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vopros@prosv.ru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06000" y="1603253"/>
            <a:ext cx="1419861" cy="133825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762000" y="4621595"/>
            <a:ext cx="6096000" cy="81047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2800"/>
              </a:lnSpc>
            </a:pPr>
            <a:r>
              <a:rPr lang="ru-RU" sz="1600" b="1" dirty="0">
                <a:solidFill>
                  <a:prstClr val="black"/>
                </a:solidFill>
                <a:latin typeface="Lato Bold" panose="020B0604020202020204" charset="0"/>
                <a:ea typeface="Lato Bold" panose="020B0604020202020204" charset="0"/>
                <a:cs typeface="Lato Bold" panose="020B0604020202020204" charset="0"/>
              </a:rPr>
              <a:t>Стоимость продукта</a:t>
            </a:r>
            <a:endParaRPr lang="en-US" sz="1600" b="1" dirty="0">
              <a:solidFill>
                <a:prstClr val="black"/>
              </a:solidFill>
              <a:latin typeface="Lato Bold" panose="020B0604020202020204" charset="0"/>
              <a:ea typeface="Lato Bold" panose="020B0604020202020204" charset="0"/>
              <a:cs typeface="Lato Bold" panose="020B0604020202020204" charset="0"/>
            </a:endParaRPr>
          </a:p>
          <a:p>
            <a:pPr>
              <a:lnSpc>
                <a:spcPts val="2800"/>
              </a:lnSpc>
            </a:pPr>
            <a:r>
              <a:rPr lang="ru-RU" sz="1600" dirty="0">
                <a:latin typeface="Lato"/>
              </a:rPr>
              <a:t>149</a:t>
            </a:r>
            <a:r>
              <a:rPr lang="en-US" sz="1600" dirty="0">
                <a:latin typeface="Lato"/>
              </a:rPr>
              <a:t> ₽</a:t>
            </a:r>
            <a:r>
              <a:rPr lang="ru-RU" sz="1600" dirty="0">
                <a:latin typeface="Lato"/>
              </a:rPr>
              <a:t> г</a:t>
            </a:r>
            <a:r>
              <a:rPr lang="en-US" sz="1600" dirty="0" err="1">
                <a:latin typeface="Lato"/>
              </a:rPr>
              <a:t>одовая</a:t>
            </a:r>
            <a:r>
              <a:rPr lang="ru-RU" sz="1600" dirty="0">
                <a:latin typeface="Lato"/>
              </a:rPr>
              <a:t> подписка</a:t>
            </a:r>
            <a:endParaRPr lang="en-US" sz="1600" dirty="0">
              <a:latin typeface="Lato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160465" y="129830"/>
            <a:ext cx="845973" cy="292517"/>
            <a:chOff x="254665" y="195486"/>
            <a:chExt cx="951720" cy="329081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34" name="Прямая соединительная линия 33"/>
          <p:cNvCxnSpPr/>
          <p:nvPr/>
        </p:nvCxnSpPr>
        <p:spPr>
          <a:xfrm>
            <a:off x="1168903" y="-1978"/>
            <a:ext cx="0" cy="40284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687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753355" y="698401"/>
            <a:ext cx="9753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000" b="1" spc="-48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нтерактивный тренажер по функциональной грамотности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2" name="Прямая соединительная линия 3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835727" y="91439"/>
            <a:ext cx="9753600" cy="590205"/>
          </a:xfrm>
        </p:spPr>
        <p:txBody>
          <a:bodyPr>
            <a:no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Цифровой банк заданий функциональной грамотности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26" y="1188505"/>
            <a:ext cx="11618587" cy="4513159"/>
          </a:xfrm>
          <a:prstGeom prst="rect">
            <a:avLst/>
          </a:prstGeom>
        </p:spPr>
      </p:pic>
      <p:sp>
        <p:nvSpPr>
          <p:cNvPr id="4" name="Стрелка вниз 3"/>
          <p:cNvSpPr/>
          <p:nvPr/>
        </p:nvSpPr>
        <p:spPr>
          <a:xfrm rot="4825508">
            <a:off x="3878677" y="2371450"/>
            <a:ext cx="596057" cy="975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2763326" y="4523842"/>
            <a:ext cx="3034145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Выбор режима:</a:t>
            </a:r>
          </a:p>
          <a:p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Мониторинг или тренажер</a:t>
            </a:r>
          </a:p>
        </p:txBody>
      </p:sp>
    </p:spTree>
    <p:extLst>
      <p:ext uri="{BB962C8B-B14F-4D97-AF65-F5344CB8AC3E}">
        <p14:creationId xmlns:p14="http://schemas.microsoft.com/office/powerpoint/2010/main" val="1321506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2" name="Прямая соединительная линия 3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835727" y="91439"/>
            <a:ext cx="9753600" cy="590205"/>
          </a:xfrm>
        </p:spPr>
        <p:txBody>
          <a:bodyPr>
            <a:no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Цифровой банк заданий функциональной грамотности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987" y="781870"/>
            <a:ext cx="10765966" cy="4068465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5811933" y="880111"/>
            <a:ext cx="3034145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Создание вариантов </a:t>
            </a:r>
            <a:endParaRPr lang="ru-RU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7" name="Стрелка вниз 36"/>
          <p:cNvSpPr/>
          <p:nvPr/>
        </p:nvSpPr>
        <p:spPr>
          <a:xfrm rot="3428824">
            <a:off x="5404329" y="1437169"/>
            <a:ext cx="596057" cy="975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трелка вниз 37"/>
          <p:cNvSpPr/>
          <p:nvPr/>
        </p:nvSpPr>
        <p:spPr>
          <a:xfrm rot="17522437" flipH="1">
            <a:off x="8449387" y="1391960"/>
            <a:ext cx="596057" cy="975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0539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2" name="Прямая соединительная линия 3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835727" y="91439"/>
            <a:ext cx="9753600" cy="590205"/>
          </a:xfrm>
        </p:spPr>
        <p:txBody>
          <a:bodyPr>
            <a:no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Цифровой банк заданий функциональной грамотности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849" y="652839"/>
            <a:ext cx="10765966" cy="4068465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5415934" y="1854798"/>
            <a:ext cx="3034145" cy="8607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Выдать варианты можно всему классу или отдельным ученикам</a:t>
            </a:r>
            <a:endParaRPr lang="ru-RU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9365" y="587236"/>
            <a:ext cx="2964268" cy="5820350"/>
          </a:xfrm>
          <a:prstGeom prst="rect">
            <a:avLst/>
          </a:prstGeom>
        </p:spPr>
      </p:pic>
      <p:sp>
        <p:nvSpPr>
          <p:cNvPr id="39" name="Стрелка вниз 38"/>
          <p:cNvSpPr/>
          <p:nvPr/>
        </p:nvSpPr>
        <p:spPr>
          <a:xfrm rot="17522437" flipH="1">
            <a:off x="8434710" y="2661777"/>
            <a:ext cx="596057" cy="975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3724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Как устроено задание</a:t>
            </a:r>
          </a:p>
        </p:txBody>
      </p:sp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39699" t="18615" r="19161" b="6290"/>
          <a:stretch/>
        </p:blipFill>
        <p:spPr>
          <a:xfrm>
            <a:off x="6952129" y="365125"/>
            <a:ext cx="5154706" cy="588072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3333" t="13832" r="31205" b="28891"/>
          <a:stretch/>
        </p:blipFill>
        <p:spPr>
          <a:xfrm>
            <a:off x="122747" y="1863803"/>
            <a:ext cx="6506652" cy="420893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8" name="Группа 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4904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19836" y="-145863"/>
            <a:ext cx="10515600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u-RU" sz="2000" b="1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Читательская грамотность</a:t>
            </a: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263" t="7799" r="1199" b="4436"/>
          <a:stretch/>
        </p:blipFill>
        <p:spPr>
          <a:xfrm>
            <a:off x="726141" y="830048"/>
            <a:ext cx="10434918" cy="5868351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731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/>
          <p:cNvGrpSpPr/>
          <p:nvPr/>
        </p:nvGrpSpPr>
        <p:grpSpPr>
          <a:xfrm>
            <a:off x="1547038" y="5195800"/>
            <a:ext cx="4350498" cy="1247378"/>
            <a:chOff x="4118957" y="4620542"/>
            <a:chExt cx="4164522" cy="124737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4118957" y="4620542"/>
              <a:ext cx="4164521" cy="1247378"/>
            </a:xfrm>
            <a:prstGeom prst="roundRect">
              <a:avLst/>
            </a:prstGeom>
            <a:solidFill>
              <a:srgbClr val="E1ED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49" name="Текст 2"/>
            <p:cNvSpPr txBox="1">
              <a:spLocks/>
            </p:cNvSpPr>
            <p:nvPr/>
          </p:nvSpPr>
          <p:spPr>
            <a:xfrm>
              <a:off x="4218583" y="4678684"/>
              <a:ext cx="4064896" cy="1131094"/>
            </a:xfrm>
            <a:prstGeom prst="rect">
              <a:avLst/>
            </a:prstGeom>
            <a:noFill/>
          </p:spPr>
          <p:txBody>
            <a:bodyPr vert="horz" lIns="72000" tIns="72000" rIns="36000" bIns="72000" rtlCol="0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rgbClr val="2D3494"/>
                </a:buClr>
                <a:buFont typeface="Arial" pitchFamily="34" charset="0"/>
                <a:buNone/>
                <a:defRPr sz="1400" b="0" i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600"/>
                </a:spcBef>
                <a:buClr>
                  <a:srgbClr val="2D3494"/>
                </a:buClr>
                <a:buFont typeface="Wingdings" pitchFamily="2" charset="2"/>
                <a:buChar char="§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–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•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•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 smtClean="0">
                  <a:solidFill>
                    <a:schemeClr val="tx1"/>
                  </a:solidFill>
                </a:rPr>
                <a:t>Интерактивные задания на отработку предметных навыков и на формирование УУД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 smtClean="0">
                  <a:solidFill>
                    <a:schemeClr val="tx1"/>
                  </a:solidFill>
                </a:rPr>
                <a:t>Эффективная системная подготовка к </a:t>
              </a:r>
              <a:r>
                <a:rPr lang="ru-RU" dirty="0" err="1" smtClean="0">
                  <a:solidFill>
                    <a:schemeClr val="tx1"/>
                  </a:solidFill>
                </a:rPr>
                <a:t>метапредметным</a:t>
              </a:r>
              <a:r>
                <a:rPr lang="ru-RU" dirty="0" smtClean="0">
                  <a:solidFill>
                    <a:schemeClr val="tx1"/>
                  </a:solidFill>
                </a:rPr>
                <a:t> проверочным работам</a:t>
              </a:r>
            </a:p>
            <a:p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1558925" y="3729872"/>
            <a:ext cx="4326725" cy="1058218"/>
            <a:chOff x="1883608" y="3469579"/>
            <a:chExt cx="4164521" cy="1058218"/>
          </a:xfrm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83608" y="3469579"/>
              <a:ext cx="4164521" cy="1058218"/>
            </a:xfrm>
            <a:prstGeom prst="roundRect">
              <a:avLst/>
            </a:prstGeom>
            <a:solidFill>
              <a:srgbClr val="E1ED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2022286" y="3527721"/>
              <a:ext cx="3752570" cy="940103"/>
            </a:xfrm>
            <a:prstGeom prst="rect">
              <a:avLst/>
            </a:prstGeom>
          </p:spPr>
          <p:txBody>
            <a:bodyPr vert="horz" lIns="72000" tIns="72000" rIns="36000" bIns="72000" rtlCol="0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rgbClr val="2D3494"/>
                </a:buClr>
                <a:buFont typeface="Arial" pitchFamily="34" charset="0"/>
                <a:buNone/>
                <a:defRPr sz="1400" b="0" i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600"/>
                </a:spcBef>
                <a:buClr>
                  <a:srgbClr val="2D3494"/>
                </a:buClr>
                <a:buFont typeface="Wingdings" pitchFamily="2" charset="2"/>
                <a:buChar char="§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–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•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•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 smtClean="0">
                  <a:solidFill>
                    <a:schemeClr val="tx1"/>
                  </a:solidFill>
                </a:rPr>
                <a:t>Понятное объяснение тем в </a:t>
              </a:r>
              <a:r>
                <a:rPr lang="ru-RU" dirty="0" err="1" smtClean="0">
                  <a:solidFill>
                    <a:schemeClr val="tx1"/>
                  </a:solidFill>
                </a:rPr>
                <a:t>видеоформате</a:t>
              </a:r>
              <a:r>
                <a:rPr lang="ru-RU" dirty="0" smtClean="0">
                  <a:solidFill>
                    <a:schemeClr val="tx1"/>
                  </a:solidFill>
                </a:rPr>
                <a:t>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>
                  <a:solidFill>
                    <a:schemeClr val="tx1"/>
                  </a:solidFill>
                </a:rPr>
                <a:t>Система вопросов к видео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 smtClean="0">
                  <a:solidFill>
                    <a:schemeClr val="tx1"/>
                  </a:solidFill>
                </a:rPr>
                <a:t>Повышение мотивации и интереса детей</a:t>
              </a:r>
            </a:p>
          </p:txBody>
        </p:sp>
      </p:grpSp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80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2211464" y="1134958"/>
            <a:ext cx="3548610" cy="113109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err="1" smtClean="0"/>
              <a:t>Соответ</a:t>
            </a:r>
            <a:r>
              <a:rPr lang="ru-RU" dirty="0" err="1" smtClean="0"/>
              <a:t>ствует</a:t>
            </a:r>
            <a:r>
              <a:rPr lang="en-US" dirty="0" smtClean="0"/>
              <a:t> системе</a:t>
            </a:r>
            <a:r>
              <a:rPr lang="ru-RU" b="1" dirty="0" smtClean="0"/>
              <a:t> «Школа России»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По математике и русскому языку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1 класс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Соответствие материалов ФГОС НОО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03004" y="155236"/>
            <a:ext cx="10488996" cy="648642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ЦИФРОВОЙ СЕРВИС </a:t>
            </a:r>
            <a:r>
              <a:rPr lang="ru-RU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«</a:t>
            </a:r>
            <a:r>
              <a:rPr lang="en-US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НАЧИНАЙЗЕР</a:t>
            </a:r>
            <a:r>
              <a:rPr lang="ru-RU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»</a:t>
            </a:r>
            <a:r>
              <a:rPr lang="en-US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: </a:t>
            </a:r>
            <a:r>
              <a:rPr lang="ru-RU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/>
            </a:r>
            <a:br>
              <a:rPr lang="ru-RU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</a:br>
            <a:r>
              <a:rPr lang="ru-RU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ПОМОЩЬ </a:t>
            </a:r>
            <a:r>
              <a:rPr lang="ru-RU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РОДИТЕЛЯМ ПЕРВОКЛАССНИК</a:t>
            </a:r>
            <a:r>
              <a:rPr lang="en-US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ОВ</a:t>
            </a:r>
            <a:r>
              <a:rPr lang="ru-RU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 В ДОСТУПНОМ ОБЪЯСНЕНИИ ДОМАШНИХ </a:t>
            </a:r>
            <a:r>
              <a:rPr lang="ru-RU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ЗАДАНИЙ</a:t>
            </a:r>
            <a:endParaRPr lang="ru-RU" spc="-48" dirty="0">
              <a:solidFill>
                <a:srgbClr val="2D2B8D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6147" y="1103966"/>
            <a:ext cx="6353952" cy="3694313"/>
          </a:xfrm>
          <a:prstGeom prst="rect">
            <a:avLst/>
          </a:prstGeom>
        </p:spPr>
      </p:pic>
      <p:pic>
        <p:nvPicPr>
          <p:cNvPr id="314389" name="Picture 21" descr="http://qrcoder.ru/code/?https%3A%2F%2Fmedia.prosv.ru%2Fnachinaizer%2F%3Futm_source%3Duchitel.club%26utm_medium%3Dwebinar%26utm_campaign%3Dpresentation.teacher.webinar.qr&amp;6&amp;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2699" y="4956173"/>
            <a:ext cx="1268272" cy="126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394" name="Picture 26" descr="https://cdn.shop.prosv.ru/content/images/thumbs/0067699_550.jpe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367" y="1138577"/>
            <a:ext cx="957570" cy="127831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396" name="Picture 28" descr="Изображение Русский язык. 1 класс. Учебник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76" y="1235599"/>
            <a:ext cx="978488" cy="127831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hlinkClick r:id="rId12"/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1010" y="5429450"/>
            <a:ext cx="3873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>
            <a:hlinkClick r:id="rId12"/>
          </p:cNvPr>
          <p:cNvSpPr txBox="1"/>
          <p:nvPr/>
        </p:nvSpPr>
        <p:spPr>
          <a:xfrm>
            <a:off x="8449723" y="5459595"/>
            <a:ext cx="1633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hlinkClick r:id="rId12"/>
              </a:rPr>
              <a:t>Узнать </a:t>
            </a:r>
            <a:r>
              <a:rPr lang="en-US" dirty="0" err="1" smtClean="0">
                <a:hlinkClick r:id="rId12"/>
              </a:rPr>
              <a:t>больше</a:t>
            </a:r>
            <a:endParaRPr lang="ru-RU" dirty="0"/>
          </a:p>
        </p:txBody>
      </p:sp>
      <p:grpSp>
        <p:nvGrpSpPr>
          <p:cNvPr id="19" name="Группа 18"/>
          <p:cNvGrpSpPr/>
          <p:nvPr/>
        </p:nvGrpSpPr>
        <p:grpSpPr>
          <a:xfrm>
            <a:off x="614750" y="3307212"/>
            <a:ext cx="1260000" cy="639261"/>
            <a:chOff x="-1952062" y="3549331"/>
            <a:chExt cx="1260000" cy="639261"/>
          </a:xfrm>
        </p:grpSpPr>
        <p:sp>
          <p:nvSpPr>
            <p:cNvPr id="25" name="Овал 24"/>
            <p:cNvSpPr/>
            <p:nvPr/>
          </p:nvSpPr>
          <p:spPr>
            <a:xfrm>
              <a:off x="-1952062" y="3549331"/>
              <a:ext cx="1260000" cy="639261"/>
            </a:xfrm>
            <a:prstGeom prst="ellipse">
              <a:avLst/>
            </a:prstGeom>
            <a:solidFill>
              <a:srgbClr val="3A60A7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Текст 2"/>
            <p:cNvSpPr txBox="1">
              <a:spLocks/>
            </p:cNvSpPr>
            <p:nvPr/>
          </p:nvSpPr>
          <p:spPr>
            <a:xfrm>
              <a:off x="-1667588" y="3564281"/>
              <a:ext cx="684216" cy="461710"/>
            </a:xfrm>
            <a:prstGeom prst="rect">
              <a:avLst/>
            </a:prstGeom>
          </p:spPr>
          <p:txBody>
            <a:bodyPr vert="horz" lIns="72000" tIns="72000" rIns="36000" bIns="72000" rtlCol="0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rgbClr val="2D3494"/>
                </a:buClr>
                <a:buFont typeface="Arial" pitchFamily="34" charset="0"/>
                <a:buNone/>
                <a:defRPr sz="1400" b="0" i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600"/>
                </a:spcBef>
                <a:buClr>
                  <a:srgbClr val="2D3494"/>
                </a:buClr>
                <a:buFont typeface="Wingdings" pitchFamily="2" charset="2"/>
                <a:buChar char="§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–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•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•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ru-RU" dirty="0" smtClean="0">
                  <a:solidFill>
                    <a:schemeClr val="bg1"/>
                  </a:solidFill>
                </a:rPr>
                <a:t>150</a:t>
              </a:r>
            </a:p>
            <a:p>
              <a:pPr algn="ctr">
                <a:spcBef>
                  <a:spcPts val="0"/>
                </a:spcBef>
              </a:pPr>
              <a:r>
                <a:rPr lang="ru-RU" dirty="0" smtClean="0">
                  <a:solidFill>
                    <a:schemeClr val="bg1"/>
                  </a:solidFill>
                </a:rPr>
                <a:t>Видео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614750" y="4807676"/>
            <a:ext cx="1260000" cy="639261"/>
            <a:chOff x="-1952062" y="4887765"/>
            <a:chExt cx="1260000" cy="639261"/>
          </a:xfrm>
        </p:grpSpPr>
        <p:sp>
          <p:nvSpPr>
            <p:cNvPr id="26" name="Овал 25"/>
            <p:cNvSpPr/>
            <p:nvPr/>
          </p:nvSpPr>
          <p:spPr>
            <a:xfrm>
              <a:off x="-1952062" y="4887765"/>
              <a:ext cx="1260000" cy="639261"/>
            </a:xfrm>
            <a:prstGeom prst="ellipse">
              <a:avLst/>
            </a:prstGeom>
            <a:solidFill>
              <a:srgbClr val="3A60A7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0" name="Текст 2"/>
            <p:cNvSpPr txBox="1">
              <a:spLocks/>
            </p:cNvSpPr>
            <p:nvPr/>
          </p:nvSpPr>
          <p:spPr>
            <a:xfrm>
              <a:off x="-1943246" y="4976540"/>
              <a:ext cx="1235531" cy="461710"/>
            </a:xfrm>
            <a:prstGeom prst="rect">
              <a:avLst/>
            </a:prstGeom>
          </p:spPr>
          <p:txBody>
            <a:bodyPr vert="horz" lIns="72000" tIns="72000" rIns="36000" bIns="72000" rtlCol="0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rgbClr val="2D3494"/>
                </a:buClr>
                <a:buFont typeface="Arial" pitchFamily="34" charset="0"/>
                <a:buNone/>
                <a:defRPr sz="1400" b="0" i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600"/>
                </a:spcBef>
                <a:buClr>
                  <a:srgbClr val="2D3494"/>
                </a:buClr>
                <a:buFont typeface="Wingdings" pitchFamily="2" charset="2"/>
                <a:buChar char="§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–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•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spcBef>
                  <a:spcPts val="300"/>
                </a:spcBef>
                <a:buClr>
                  <a:srgbClr val="2D3494"/>
                </a:buClr>
                <a:buFont typeface="Arial" pitchFamily="34" charset="0"/>
                <a:buChar char="•"/>
                <a:defRPr sz="1400" b="0" kern="1200">
                  <a:solidFill>
                    <a:schemeClr val="tx1">
                      <a:lumMod val="90000"/>
                      <a:lumOff val="10000"/>
                    </a:schemeClr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ru-RU" dirty="0" smtClean="0">
                  <a:solidFill>
                    <a:schemeClr val="bg1"/>
                  </a:solidFill>
                </a:rPr>
                <a:t>Мини-тренинг</a:t>
              </a:r>
              <a:endParaRPr lang="en-US" dirty="0" smtClean="0">
                <a:solidFill>
                  <a:schemeClr val="bg1"/>
                </a:solidFill>
              </a:endParaRPr>
            </a:p>
            <a:p>
              <a:pPr algn="ctr">
                <a:spcBef>
                  <a:spcPts val="0"/>
                </a:spcBef>
              </a:pPr>
              <a:r>
                <a:rPr lang="en-US" dirty="0" smtClean="0">
                  <a:solidFill>
                    <a:schemeClr val="bg1"/>
                  </a:solidFill>
                </a:rPr>
                <a:t>и </a:t>
              </a:r>
              <a:r>
                <a:rPr lang="en-US" dirty="0" err="1" smtClean="0">
                  <a:solidFill>
                    <a:schemeClr val="bg1"/>
                  </a:solidFill>
                </a:rPr>
                <a:t>игры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7056252" y="1308223"/>
            <a:ext cx="4873742" cy="3219574"/>
            <a:chOff x="6742412" y="1430938"/>
            <a:chExt cx="5205141" cy="3446471"/>
          </a:xfrm>
        </p:grpSpPr>
        <p:grpSp>
          <p:nvGrpSpPr>
            <p:cNvPr id="12" name="Группа 11"/>
            <p:cNvGrpSpPr/>
            <p:nvPr/>
          </p:nvGrpSpPr>
          <p:grpSpPr>
            <a:xfrm>
              <a:off x="6742412" y="1430938"/>
              <a:ext cx="5205141" cy="3446471"/>
              <a:chOff x="5742365" y="2426864"/>
              <a:chExt cx="5205141" cy="3446471"/>
            </a:xfrm>
          </p:grpSpPr>
          <p:pic>
            <p:nvPicPr>
              <p:cNvPr id="13" name="Рисунок 12"/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742367" y="2426864"/>
                <a:ext cx="5205139" cy="2909301"/>
              </a:xfrm>
              <a:prstGeom prst="rect">
                <a:avLst/>
              </a:prstGeom>
            </p:spPr>
          </p:pic>
          <p:pic>
            <p:nvPicPr>
              <p:cNvPr id="14" name="Рисунок 13"/>
              <p:cNvPicPr>
                <a:picLocks noChangeAspect="1"/>
              </p:cNvPicPr>
              <p:nvPr/>
            </p:nvPicPr>
            <p:blipFill rotWithShape="1">
              <a:blip r:embed="rId14"/>
              <a:srcRect t="87077"/>
              <a:stretch/>
            </p:blipFill>
            <p:spPr>
              <a:xfrm>
                <a:off x="5742366" y="5494465"/>
                <a:ext cx="5205139" cy="378870"/>
              </a:xfrm>
              <a:prstGeom prst="rect">
                <a:avLst/>
              </a:prstGeom>
            </p:spPr>
          </p:pic>
          <p:pic>
            <p:nvPicPr>
              <p:cNvPr id="15" name="Рисунок 14"/>
              <p:cNvPicPr>
                <a:picLocks noChangeAspect="1"/>
              </p:cNvPicPr>
              <p:nvPr/>
            </p:nvPicPr>
            <p:blipFill rotWithShape="1">
              <a:blip r:embed="rId14"/>
              <a:srcRect t="87077" b="9624"/>
              <a:stretch/>
            </p:blipFill>
            <p:spPr>
              <a:xfrm>
                <a:off x="5742365" y="4991100"/>
                <a:ext cx="5205139" cy="503365"/>
              </a:xfrm>
              <a:prstGeom prst="rect">
                <a:avLst/>
              </a:prstGeom>
            </p:spPr>
          </p:pic>
        </p:grpSp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807046" y="1528904"/>
              <a:ext cx="196385" cy="196385"/>
            </a:xfrm>
            <a:prstGeom prst="rect">
              <a:avLst/>
            </a:prstGeom>
          </p:spPr>
        </p:pic>
      </p:grpSp>
      <p:sp>
        <p:nvSpPr>
          <p:cNvPr id="47" name="Скругленный прямоугольник 46"/>
          <p:cNvSpPr/>
          <p:nvPr/>
        </p:nvSpPr>
        <p:spPr>
          <a:xfrm>
            <a:off x="614750" y="2673763"/>
            <a:ext cx="5270900" cy="547158"/>
          </a:xfrm>
          <a:prstGeom prst="roundRect">
            <a:avLst/>
          </a:prstGeom>
          <a:solidFill>
            <a:srgbClr val="3A60A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37249" y="2680450"/>
            <a:ext cx="36259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Пошаговый алгоритм разбора заданий </a:t>
            </a:r>
            <a:endParaRPr lang="en-US" sz="1400" dirty="0" smtClean="0">
              <a:solidFill>
                <a:schemeClr val="bg1"/>
              </a:solidFill>
            </a:endParaRPr>
          </a:p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из </a:t>
            </a:r>
            <a:r>
              <a:rPr lang="ru-RU" sz="1400" dirty="0">
                <a:solidFill>
                  <a:schemeClr val="bg1"/>
                </a:solidFill>
              </a:rPr>
              <a:t>учебника и рабочей тетради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5019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/>
          <p:cNvSpPr txBox="1"/>
          <p:nvPr/>
        </p:nvSpPr>
        <p:spPr>
          <a:xfrm>
            <a:off x="1803862" y="1767233"/>
            <a:ext cx="9343505" cy="24622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ru-RU" sz="1600" b="1" dirty="0">
                <a:ea typeface="Yu Gothic UI Semibold" panose="020B0700000000000000" pitchFamily="34" charset="-128"/>
              </a:rPr>
              <a:t>Пункт 36. 1 (НОО), пункт 37.2 (ООО</a:t>
            </a:r>
            <a:r>
              <a:rPr lang="ru-RU" sz="1600" b="1" dirty="0" smtClean="0">
                <a:ea typeface="Yu Gothic UI Semibold" panose="020B0700000000000000" pitchFamily="34" charset="-128"/>
              </a:rPr>
              <a:t>)</a:t>
            </a:r>
            <a:r>
              <a:rPr lang="ru-RU" sz="1600" b="1" dirty="0">
                <a:ea typeface="Yu Gothic UI Light" panose="020B0300000000000000" pitchFamily="34" charset="-128"/>
              </a:rPr>
              <a:t/>
            </a:r>
            <a:br>
              <a:rPr lang="ru-RU" sz="1600" b="1" dirty="0">
                <a:ea typeface="Yu Gothic UI Light" panose="020B0300000000000000" pitchFamily="34" charset="-128"/>
              </a:rPr>
            </a:br>
            <a:endParaRPr lang="ru-RU" sz="1600" b="1" dirty="0" smtClean="0">
              <a:ea typeface="Yu Gothic UI Light" panose="020B0300000000000000" pitchFamily="34" charset="-128"/>
            </a:endParaRPr>
          </a:p>
          <a:p>
            <a:r>
              <a:rPr lang="ru-RU" sz="1600" b="1" dirty="0" smtClean="0">
                <a:ea typeface="Yu Gothic UI Light" panose="020B0300000000000000" pitchFamily="34" charset="-128"/>
              </a:rPr>
              <a:t>Каждому </a:t>
            </a:r>
            <a:r>
              <a:rPr lang="ru-RU" sz="1600" b="1" dirty="0">
                <a:ea typeface="Yu Gothic UI Light" panose="020B0300000000000000" pitchFamily="34" charset="-128"/>
              </a:rPr>
              <a:t>учащемуся </a:t>
            </a:r>
            <a:r>
              <a:rPr lang="ru-RU" sz="1600" dirty="0">
                <a:ea typeface="Yu Gothic UI Light" panose="020B0300000000000000" pitchFamily="34" charset="-128"/>
              </a:rPr>
              <a:t>- </a:t>
            </a:r>
            <a:r>
              <a:rPr lang="ru-RU" sz="1600" b="1" dirty="0">
                <a:ea typeface="Yu Gothic UI Light" panose="020B0300000000000000" pitchFamily="34" charset="-128"/>
              </a:rPr>
              <a:t>учебник и(или) учебное пособие</a:t>
            </a:r>
            <a:r>
              <a:rPr lang="ru-RU" sz="1600" dirty="0">
                <a:ea typeface="Yu Gothic UI Light" panose="020B0300000000000000" pitchFamily="34" charset="-128"/>
              </a:rPr>
              <a:t>, необходимого для реализации </a:t>
            </a:r>
            <a:r>
              <a:rPr lang="ru-RU" sz="1600" b="1" dirty="0">
                <a:ea typeface="Yu Gothic UI Light" panose="020B0300000000000000" pitchFamily="34" charset="-128"/>
              </a:rPr>
              <a:t>как обязательной части учебного плана, так и части по выбору</a:t>
            </a:r>
            <a:r>
              <a:rPr lang="ru-RU" sz="1600" dirty="0">
                <a:ea typeface="Yu Gothic UI Light" panose="020B0300000000000000" pitchFamily="34" charset="-128"/>
              </a:rPr>
              <a:t> участниками образовательных отношений;</a:t>
            </a:r>
          </a:p>
          <a:p>
            <a:r>
              <a:rPr lang="ru-RU" sz="1600" dirty="0">
                <a:ea typeface="Yu Gothic UI Light" panose="020B0300000000000000" pitchFamily="34" charset="-128"/>
              </a:rPr>
              <a:t/>
            </a:r>
            <a:br>
              <a:rPr lang="ru-RU" sz="1600" dirty="0">
                <a:ea typeface="Yu Gothic UI Light" panose="020B0300000000000000" pitchFamily="34" charset="-128"/>
              </a:rPr>
            </a:br>
            <a:r>
              <a:rPr lang="ru-RU" sz="1600" b="1" dirty="0">
                <a:ea typeface="Yu Gothic UI Semibold" panose="020B0700000000000000" pitchFamily="34" charset="-128"/>
              </a:rPr>
              <a:t>Дополнительно(!) </a:t>
            </a:r>
            <a:r>
              <a:rPr lang="ru-RU" sz="1600" dirty="0" smtClean="0">
                <a:ea typeface="Yu Gothic UI Light" panose="020B0300000000000000" pitchFamily="34" charset="-128"/>
              </a:rPr>
              <a:t>Организация </a:t>
            </a:r>
            <a:r>
              <a:rPr lang="ru-RU" sz="1600" dirty="0">
                <a:ea typeface="Yu Gothic UI Light" panose="020B0300000000000000" pitchFamily="34" charset="-128"/>
              </a:rPr>
              <a:t>может предоставлять пособия в электронной форме для 1 и 2 частей учебного плана.</a:t>
            </a:r>
          </a:p>
          <a:p>
            <a:r>
              <a:rPr lang="ru-RU" sz="1600" dirty="0">
                <a:ea typeface="Yu Gothic UI Light" panose="020B0300000000000000" pitchFamily="34" charset="-128"/>
              </a:rPr>
              <a:t/>
            </a:r>
            <a:br>
              <a:rPr lang="ru-RU" sz="1600" dirty="0">
                <a:ea typeface="Yu Gothic UI Light" panose="020B0300000000000000" pitchFamily="34" charset="-128"/>
              </a:rPr>
            </a:br>
            <a:r>
              <a:rPr lang="ru-RU" sz="1600" dirty="0">
                <a:ea typeface="Yu Gothic UI Light" panose="020B0300000000000000" pitchFamily="34" charset="-128"/>
              </a:rPr>
              <a:t>Обучающимся должен быть обеспечен доступ к печатным и электронным образовательным ресурсам, размещенным в федеральных и региональных базах данных </a:t>
            </a:r>
            <a:r>
              <a:rPr lang="ru-RU" sz="1600" dirty="0" smtClean="0">
                <a:ea typeface="Yu Gothic UI Light" panose="020B0300000000000000" pitchFamily="34" charset="-128"/>
              </a:rPr>
              <a:t>ЭОР</a:t>
            </a:r>
            <a:endParaRPr lang="en-US" sz="1600" dirty="0">
              <a:solidFill>
                <a:srgbClr val="000000"/>
              </a:solidFill>
              <a:ea typeface="Yu Gothic UI Light" panose="020B0300000000000000" pitchFamily="34" charset="-128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28" name="Прямая соединительная линия 27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159563" y="115318"/>
            <a:ext cx="10029387" cy="5640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ФГОС-2021: Требования к учебно-методическому обеспечению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0" y="872230"/>
            <a:ext cx="12187854" cy="625430"/>
          </a:xfrm>
          <a:prstGeom prst="rect">
            <a:avLst/>
          </a:prstGeom>
          <a:solidFill>
            <a:srgbClr val="E4F0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33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                                    </a:t>
            </a:r>
            <a:r>
              <a:rPr lang="ru-RU" sz="16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Нормативы обеспеченности учащихся средствами обучения </a:t>
            </a:r>
          </a:p>
        </p:txBody>
      </p:sp>
      <p:sp>
        <p:nvSpPr>
          <p:cNvPr id="31" name="TextBox 5"/>
          <p:cNvSpPr txBox="1"/>
          <p:nvPr/>
        </p:nvSpPr>
        <p:spPr>
          <a:xfrm>
            <a:off x="1803861" y="5141582"/>
            <a:ext cx="9343505" cy="984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ru-RU" sz="1600" dirty="0">
                <a:ea typeface="Yu Gothic UI Light" panose="020B0300000000000000" pitchFamily="34" charset="-128"/>
              </a:rPr>
              <a:t>Библиотека Организации должна быть укомплектована печатными образовательными ресурсами и ЭОР по всем предметам учебного плана и иметь фонд дополнительной литературы (художественная, научно-популярная, справочная и периодические издания)</a:t>
            </a:r>
          </a:p>
          <a:p>
            <a:endParaRPr lang="en-US" sz="1600" dirty="0">
              <a:ea typeface="Yu Gothic UI Light" panose="020B0300000000000000" pitchFamily="34" charset="-128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</a:p>
        </p:txBody>
      </p:sp>
      <p:sp>
        <p:nvSpPr>
          <p:cNvPr id="33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0142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13"/>
          <p:cNvSpPr txBox="1"/>
          <p:nvPr/>
        </p:nvSpPr>
        <p:spPr>
          <a:xfrm>
            <a:off x="8940800" y="6360349"/>
            <a:ext cx="3063634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3"/>
              </a:lnSpc>
              <a:spcBef>
                <a:spcPct val="0"/>
              </a:spcBef>
            </a:pPr>
            <a:endParaRPr sz="1200" dirty="0"/>
          </a:p>
          <a:p>
            <a:pPr algn="r">
              <a:lnSpc>
                <a:spcPts val="1493"/>
              </a:lnSpc>
              <a:spcBef>
                <a:spcPct val="0"/>
              </a:spcBef>
            </a:pPr>
            <a:fld id="{5A92C971-3548-4A57-999D-DBC4D74A3EFA}" type="slidenum">
              <a:rPr lang="en-US" sz="1067">
                <a:solidFill>
                  <a:srgbClr val="000000"/>
                </a:solidFill>
                <a:latin typeface="Lato"/>
              </a:rPr>
              <a:pPr algn="r">
                <a:lnSpc>
                  <a:spcPts val="1493"/>
                </a:lnSpc>
                <a:spcBef>
                  <a:spcPct val="0"/>
                </a:spcBef>
              </a:pPr>
              <a:t>60</a:t>
            </a:fld>
            <a:endParaRPr lang="en-US" sz="1067" dirty="0">
              <a:solidFill>
                <a:srgbClr val="000000"/>
              </a:solidFill>
              <a:latin typeface="Lato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71" t="24647" r="24984" b="12809"/>
          <a:stretch/>
        </p:blipFill>
        <p:spPr bwMode="auto">
          <a:xfrm>
            <a:off x="1431653" y="975712"/>
            <a:ext cx="6504515" cy="3652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1679337" y="190956"/>
            <a:ext cx="9427912" cy="91683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000" b="1" spc="-48" dirty="0">
              <a:solidFill>
                <a:srgbClr val="2D2B8D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8" name="Прямоугольник 37"/>
          <p:cNvSpPr/>
          <p:nvPr/>
        </p:nvSpPr>
        <p:spPr>
          <a:xfrm>
            <a:off x="7936168" y="1744396"/>
            <a:ext cx="3856764" cy="97719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1">
              <a:lnSpc>
                <a:spcPts val="2333"/>
              </a:lnSpc>
              <a:spcBef>
                <a:spcPct val="0"/>
              </a:spcBef>
            </a:pPr>
            <a:r>
              <a:rPr lang="en-US" altLang="ru-RU" sz="1400" dirty="0">
                <a:solidFill>
                  <a:srgbClr val="000000"/>
                </a:solidFill>
                <a:latin typeface="Arimo Italics" panose="020B0604020202020204" charset="0"/>
              </a:rPr>
              <a:t>Система </a:t>
            </a:r>
            <a:r>
              <a:rPr lang="en-US" altLang="ru-RU" sz="1400" dirty="0" err="1" smtClean="0">
                <a:solidFill>
                  <a:srgbClr val="000000"/>
                </a:solidFill>
                <a:latin typeface="Arimo Bold Italics" panose="020B0604020202020204" charset="0"/>
              </a:rPr>
              <a:t>вопросов</a:t>
            </a:r>
            <a:r>
              <a:rPr lang="ru-RU" altLang="ru-RU" sz="1400" dirty="0" smtClean="0">
                <a:solidFill>
                  <a:srgbClr val="000000"/>
                </a:solidFill>
                <a:latin typeface="Arimo Bold Italics" panose="020B0604020202020204" charset="0"/>
              </a:rPr>
              <a:t>, </a:t>
            </a:r>
            <a:r>
              <a:rPr lang="en-US" altLang="ru-RU" sz="1400" dirty="0" err="1" smtClean="0">
                <a:solidFill>
                  <a:srgbClr val="000000"/>
                </a:solidFill>
                <a:latin typeface="Arimo Italics" panose="020B0604020202020204" charset="0"/>
              </a:rPr>
              <a:t>которая</a:t>
            </a:r>
            <a:r>
              <a:rPr lang="en-US" altLang="ru-RU" sz="1400" dirty="0" smtClean="0">
                <a:solidFill>
                  <a:srgbClr val="000000"/>
                </a:solidFill>
                <a:latin typeface="Arimo Italics" panose="020B0604020202020204" charset="0"/>
              </a:rPr>
              <a:t> </a:t>
            </a:r>
            <a:r>
              <a:rPr lang="en-US" altLang="ru-RU" sz="1400" dirty="0" err="1" smtClean="0">
                <a:solidFill>
                  <a:srgbClr val="000000"/>
                </a:solidFill>
                <a:latin typeface="Arimo Italics" panose="020B0604020202020204" charset="0"/>
              </a:rPr>
              <a:t>поможет</a:t>
            </a:r>
            <a:r>
              <a:rPr lang="ru-RU" altLang="ru-RU" sz="1400" dirty="0" smtClean="0">
                <a:solidFill>
                  <a:srgbClr val="000000"/>
                </a:solidFill>
                <a:latin typeface="Arimo Italics" panose="020B0604020202020204" charset="0"/>
              </a:rPr>
              <a:t> </a:t>
            </a:r>
            <a:r>
              <a:rPr lang="en-US" altLang="ru-RU" sz="1400" dirty="0" err="1" smtClean="0">
                <a:solidFill>
                  <a:srgbClr val="000000"/>
                </a:solidFill>
                <a:latin typeface="Arimo Italics" panose="020B0604020202020204" charset="0"/>
              </a:rPr>
              <a:t>ребенку</a:t>
            </a:r>
            <a:r>
              <a:rPr lang="en-US" altLang="ru-RU" sz="1400" dirty="0" smtClean="0">
                <a:solidFill>
                  <a:srgbClr val="000000"/>
                </a:solidFill>
                <a:latin typeface="Arimo Italics" panose="020B0604020202020204" charset="0"/>
              </a:rPr>
              <a:t> </a:t>
            </a:r>
            <a:r>
              <a:rPr lang="en-US" altLang="ru-RU" sz="1400" dirty="0" err="1">
                <a:solidFill>
                  <a:srgbClr val="000000"/>
                </a:solidFill>
                <a:latin typeface="Arimo Italics" panose="020B0604020202020204" charset="0"/>
              </a:rPr>
              <a:t>лучше</a:t>
            </a:r>
            <a:r>
              <a:rPr lang="en-US" altLang="ru-RU" sz="1400" dirty="0">
                <a:solidFill>
                  <a:srgbClr val="000000"/>
                </a:solidFill>
                <a:latin typeface="Arimo Italics" panose="020B0604020202020204" charset="0"/>
              </a:rPr>
              <a:t> </a:t>
            </a:r>
            <a:r>
              <a:rPr lang="en-US" altLang="ru-RU" sz="1400" dirty="0" err="1">
                <a:solidFill>
                  <a:srgbClr val="000000"/>
                </a:solidFill>
                <a:latin typeface="Arimo Italics" panose="020B0604020202020204" charset="0"/>
              </a:rPr>
              <a:t>понять</a:t>
            </a:r>
            <a:r>
              <a:rPr lang="en-US" altLang="ru-RU" sz="1400" dirty="0">
                <a:solidFill>
                  <a:srgbClr val="000000"/>
                </a:solidFill>
                <a:latin typeface="Arimo Italics" panose="020B0604020202020204" charset="0"/>
              </a:rPr>
              <a:t> </a:t>
            </a:r>
            <a:r>
              <a:rPr lang="en-US" altLang="ru-RU" sz="1400" dirty="0" err="1">
                <a:solidFill>
                  <a:srgbClr val="000000"/>
                </a:solidFill>
                <a:latin typeface="Arimo Italics" panose="020B0604020202020204" charset="0"/>
              </a:rPr>
              <a:t>тему</a:t>
            </a:r>
            <a:r>
              <a:rPr lang="en-US" altLang="ru-RU" sz="1400" dirty="0">
                <a:solidFill>
                  <a:srgbClr val="000000"/>
                </a:solidFill>
                <a:latin typeface="Arimo Italics" panose="020B0604020202020204" charset="0"/>
              </a:rPr>
              <a:t> и </a:t>
            </a:r>
            <a:r>
              <a:rPr lang="en-US" altLang="ru-RU" sz="1400" dirty="0" err="1">
                <a:solidFill>
                  <a:srgbClr val="000000"/>
                </a:solidFill>
                <a:latin typeface="Arimo Italics" panose="020B0604020202020204" charset="0"/>
              </a:rPr>
              <a:t>самостоятельно</a:t>
            </a:r>
            <a:r>
              <a:rPr lang="en-US" altLang="ru-RU" sz="1400" dirty="0">
                <a:solidFill>
                  <a:srgbClr val="000000"/>
                </a:solidFill>
                <a:latin typeface="Arimo Italics" panose="020B0604020202020204" charset="0"/>
              </a:rPr>
              <a:t> </a:t>
            </a:r>
            <a:r>
              <a:rPr lang="en-US" altLang="ru-RU" sz="1400" dirty="0" err="1">
                <a:solidFill>
                  <a:srgbClr val="000000"/>
                </a:solidFill>
                <a:latin typeface="Arimo Italics" panose="020B0604020202020204" charset="0"/>
              </a:rPr>
              <a:t>выполнить</a:t>
            </a:r>
            <a:r>
              <a:rPr lang="en-US" altLang="ru-RU" sz="1400" dirty="0">
                <a:solidFill>
                  <a:srgbClr val="000000"/>
                </a:solidFill>
                <a:latin typeface="Arimo Italics" panose="020B0604020202020204" charset="0"/>
              </a:rPr>
              <a:t> </a:t>
            </a:r>
            <a:r>
              <a:rPr lang="en-US" altLang="ru-RU" sz="1400" dirty="0" err="1">
                <a:solidFill>
                  <a:srgbClr val="000000"/>
                </a:solidFill>
                <a:latin typeface="Arimo Italics" panose="020B0604020202020204" charset="0"/>
              </a:rPr>
              <a:t>задание</a:t>
            </a:r>
            <a:endParaRPr lang="en-US" altLang="ru-RU" sz="1400" dirty="0">
              <a:solidFill>
                <a:srgbClr val="000000"/>
              </a:solidFill>
              <a:latin typeface="Arimo Italics" panose="020B060402020202020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8056760" y="2981969"/>
            <a:ext cx="3613623" cy="68223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1">
              <a:lnSpc>
                <a:spcPts val="2333"/>
              </a:lnSpc>
              <a:spcBef>
                <a:spcPct val="0"/>
              </a:spcBef>
            </a:pPr>
            <a:r>
              <a:rPr lang="en-US" sz="1400" dirty="0">
                <a:solidFill>
                  <a:srgbClr val="000000"/>
                </a:solidFill>
                <a:latin typeface="Arimo Italics" panose="020B0604020202020204" charset="0"/>
              </a:rPr>
              <a:t>Пошаговый </a:t>
            </a:r>
            <a:r>
              <a:rPr lang="en-US" sz="1400" dirty="0" err="1">
                <a:solidFill>
                  <a:srgbClr val="000000"/>
                </a:solidFill>
                <a:latin typeface="Arimo Italics" panose="020B0604020202020204" charset="0"/>
              </a:rPr>
              <a:t>алгоритм</a:t>
            </a:r>
            <a:r>
              <a:rPr lang="en-US" sz="1400" dirty="0">
                <a:solidFill>
                  <a:srgbClr val="000000"/>
                </a:solidFill>
                <a:latin typeface="Arimo Italics" panose="020B060402020202020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mo Italics" panose="020B0604020202020204" charset="0"/>
              </a:rPr>
              <a:t>разбора</a:t>
            </a:r>
            <a:r>
              <a:rPr lang="en-US" sz="1400" dirty="0">
                <a:solidFill>
                  <a:srgbClr val="000000"/>
                </a:solidFill>
                <a:latin typeface="Arimo Italics" panose="020B060402020202020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mo Italics" panose="020B0604020202020204" charset="0"/>
              </a:rPr>
              <a:t>заданий</a:t>
            </a:r>
            <a:r>
              <a:rPr lang="en-US" sz="1400" dirty="0">
                <a:solidFill>
                  <a:srgbClr val="000000"/>
                </a:solidFill>
                <a:latin typeface="Arimo Italics" panose="020B0604020202020204" charset="0"/>
              </a:rPr>
              <a:t> </a:t>
            </a: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5550" y="975712"/>
            <a:ext cx="2226857" cy="3652960"/>
          </a:xfrm>
          <a:prstGeom prst="rect">
            <a:avLst/>
          </a:prstGeom>
        </p:spPr>
      </p:pic>
      <p:pic>
        <p:nvPicPr>
          <p:cNvPr id="41" name="Picture 6">
            <a:hlinkClick r:id="rId5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 flipV="1">
            <a:off x="2502407" y="2815833"/>
            <a:ext cx="3873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6">
            <a:hlinkClick r:id="rId5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056760" y="1903825"/>
            <a:ext cx="3873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6">
            <a:hlinkClick r:id="rId5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056760" y="3131179"/>
            <a:ext cx="3873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Заголовок 1"/>
          <p:cNvSpPr txBox="1">
            <a:spLocks/>
          </p:cNvSpPr>
          <p:nvPr/>
        </p:nvSpPr>
        <p:spPr>
          <a:xfrm>
            <a:off x="1874750" y="155236"/>
            <a:ext cx="10159398" cy="6486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ЦИФРОВОЙ СЕРВИС </a:t>
            </a:r>
            <a:r>
              <a:rPr lang="ru-RU" sz="1800" b="1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«</a:t>
            </a:r>
            <a:r>
              <a:rPr lang="en-US" sz="1800" b="1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НАЧИНАЙЗЕР</a:t>
            </a:r>
            <a:r>
              <a:rPr lang="ru-RU" sz="1800" b="1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»</a:t>
            </a:r>
            <a:r>
              <a:rPr lang="en-US" sz="1800" b="1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: </a:t>
            </a:r>
            <a:endParaRPr lang="ru-RU" sz="1800" b="1" spc="-48" dirty="0" smtClean="0">
              <a:solidFill>
                <a:srgbClr val="2D2B8D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  <a:p>
            <a:r>
              <a:rPr lang="ru-RU" sz="1800" b="1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ПОМОЩЬ РОДИТЕЛЯМ ПЕРВОКЛАССНИК</a:t>
            </a:r>
            <a:r>
              <a:rPr lang="en-US" sz="1800" b="1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ОВ</a:t>
            </a:r>
            <a:r>
              <a:rPr lang="ru-RU" sz="1800" b="1" spc="-48" dirty="0" smtClean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 В ДОСТУПНОМ ОБЪЯСНЕНИИ ДОМАШНИХ ЗАДАНИЙ</a:t>
            </a:r>
            <a:endParaRPr lang="ru-RU" sz="1800" b="1" spc="-48" dirty="0">
              <a:solidFill>
                <a:srgbClr val="2D2B8D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46" name="Picture 21" descr="http://qrcoder.ru/code/?https%3A%2F%2Fmedia.prosv.ru%2Fnachinaizer%2F%3Futm_source%3Duchitel.club%26utm_medium%3Dwebinar%26utm_campaign%3Dpresentation.teacher.webinar.qr&amp;6&amp;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2699" y="4956173"/>
            <a:ext cx="1268272" cy="126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>
            <a:hlinkClick r:id="rId5"/>
          </p:cNvPr>
          <p:cNvSpPr txBox="1"/>
          <p:nvPr/>
        </p:nvSpPr>
        <p:spPr>
          <a:xfrm>
            <a:off x="8449723" y="5459595"/>
            <a:ext cx="1633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hlinkClick r:id="rId5"/>
              </a:rPr>
              <a:t>Узнать </a:t>
            </a:r>
            <a:r>
              <a:rPr lang="en-US" dirty="0" err="1" smtClean="0">
                <a:hlinkClick r:id="rId5"/>
              </a:rPr>
              <a:t>больш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8957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5194"/>
          <a:stretch/>
        </p:blipFill>
        <p:spPr>
          <a:xfrm>
            <a:off x="333761" y="748301"/>
            <a:ext cx="6615981" cy="37535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906566" y="247323"/>
            <a:ext cx="7957281" cy="92972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Разбираем задания из учебника</a:t>
            </a:r>
          </a:p>
          <a:p>
            <a:pPr algn="ctr"/>
            <a:endParaRPr lang="ru-RU" sz="3200" b="1" dirty="0">
              <a:solidFill>
                <a:schemeClr val="accent5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/>
          <a:srcRect l="46905" t="8063" r="5459" b="38"/>
          <a:stretch/>
        </p:blipFill>
        <p:spPr>
          <a:xfrm>
            <a:off x="7083220" y="748301"/>
            <a:ext cx="3243187" cy="34499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5" name="Группа 4"/>
          <p:cNvGrpSpPr/>
          <p:nvPr/>
        </p:nvGrpSpPr>
        <p:grpSpPr>
          <a:xfrm>
            <a:off x="333761" y="233241"/>
            <a:ext cx="1268960" cy="301690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5521" y="3098532"/>
            <a:ext cx="5594337" cy="35149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653051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479375" y="1134958"/>
            <a:ext cx="9361041" cy="1131094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/>
              <a:t>Более 450 </a:t>
            </a:r>
            <a:r>
              <a:rPr lang="ru-RU" sz="1600" b="1" dirty="0" smtClean="0"/>
              <a:t>интерактивных заданий</a:t>
            </a:r>
            <a:r>
              <a:rPr lang="ru-RU" sz="1600" dirty="0" smtClean="0"/>
              <a:t> для подготовки к ВПР в 4 классе по математике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/>
              <a:t>Соответствие содержания универсальным кодификаторам </a:t>
            </a:r>
            <a:r>
              <a:rPr lang="ru-RU" sz="1600" b="1" dirty="0" smtClean="0"/>
              <a:t>ФИПИ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/>
              <a:t>Подходит для обучающихся </a:t>
            </a:r>
            <a:r>
              <a:rPr lang="ru-RU" sz="1600" b="1" dirty="0" smtClean="0"/>
              <a:t>по любой системе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/>
              <a:t>Стартовая диагностика </a:t>
            </a:r>
            <a:r>
              <a:rPr lang="ru-RU" sz="1600" b="1" dirty="0" smtClean="0"/>
              <a:t>с методическим разбором </a:t>
            </a:r>
            <a:r>
              <a:rPr lang="ru-RU" sz="1600" dirty="0" smtClean="0"/>
              <a:t>каждого задания</a:t>
            </a:r>
          </a:p>
          <a:p>
            <a:endParaRPr lang="ru-RU" sz="16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16577" y="180636"/>
            <a:ext cx="8837856" cy="64864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ЦИФРОВОЙ СЕРВИС </a:t>
            </a:r>
            <a:r>
              <a:rPr lang="ru-RU" sz="1800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«</a:t>
            </a:r>
            <a:r>
              <a:rPr lang="en-US" sz="1800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НАЧИНАЙЗЕР</a:t>
            </a:r>
            <a:r>
              <a:rPr lang="ru-RU" sz="1800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»</a:t>
            </a:r>
            <a:r>
              <a:rPr lang="en-US" sz="1800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: </a:t>
            </a:r>
            <a:br>
              <a:rPr lang="en-US" sz="1800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</a:br>
            <a:r>
              <a:rPr lang="en-US" sz="1800" spc="-48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КОМПЛЕКСНАЯ ПОДГОТОВКА К ВПР ПО МАТЕМАТИКЕ В 4 КЛАССЕ</a:t>
            </a:r>
            <a:endParaRPr lang="ru-RU" sz="1800" spc="-48" dirty="0">
              <a:solidFill>
                <a:srgbClr val="2D2B8D"/>
              </a:solidFill>
              <a:latin typeface="+mn-lt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314389" name="Picture 21" descr="http://qrcoder.ru/code/?https%3A%2F%2Fmedia.prosv.ru%2Fnachinaizer%2F%3Futm_source%3Duchitel.club%26utm_medium%3Dwebinar%26utm_campaign%3Dpresentation.teacher.webinar.qr&amp;6&amp;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9456" y="1023705"/>
            <a:ext cx="1268272" cy="126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>
            <a:hlinkClick r:id="rId9"/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0899917" y="2278940"/>
            <a:ext cx="3873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>
            <a:hlinkClick r:id="rId9"/>
          </p:cNvPr>
          <p:cNvSpPr txBox="1"/>
          <p:nvPr/>
        </p:nvSpPr>
        <p:spPr>
          <a:xfrm>
            <a:off x="10272464" y="2699628"/>
            <a:ext cx="1633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hlinkClick r:id="rId9"/>
              </a:rPr>
              <a:t>Узнать </a:t>
            </a:r>
            <a:r>
              <a:rPr lang="en-US" dirty="0" err="1" smtClean="0">
                <a:hlinkClick r:id="rId9"/>
              </a:rPr>
              <a:t>больше</a:t>
            </a:r>
            <a:endParaRPr lang="en-US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79375" y="2562090"/>
            <a:ext cx="98650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/>
              <a:t>Многоуровневая </a:t>
            </a:r>
            <a:r>
              <a:rPr lang="ru-RU" sz="1600" b="1" dirty="0"/>
              <a:t>система подсказок при неверном </a:t>
            </a:r>
            <a:r>
              <a:rPr lang="ru-RU" sz="1600" b="1" dirty="0" smtClean="0"/>
              <a:t>выполнении</a:t>
            </a:r>
            <a:r>
              <a:rPr lang="en-US" sz="1600" b="1" dirty="0" smtClean="0"/>
              <a:t> </a:t>
            </a:r>
            <a:r>
              <a:rPr lang="en-US" sz="1600" b="1" dirty="0" err="1" smtClean="0"/>
              <a:t>задания</a:t>
            </a:r>
            <a:endParaRPr lang="ru-RU" sz="1600" b="1" dirty="0"/>
          </a:p>
        </p:txBody>
      </p:sp>
      <p:grpSp>
        <p:nvGrpSpPr>
          <p:cNvPr id="39" name="Group 5"/>
          <p:cNvGrpSpPr/>
          <p:nvPr/>
        </p:nvGrpSpPr>
        <p:grpSpPr>
          <a:xfrm>
            <a:off x="8360824" y="4491023"/>
            <a:ext cx="468000" cy="468000"/>
            <a:chOff x="0" y="0"/>
            <a:chExt cx="1097995" cy="1097995"/>
          </a:xfrm>
        </p:grpSpPr>
        <p:pic>
          <p:nvPicPr>
            <p:cNvPr id="41" name="Picture 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45" name="TextBox 7"/>
            <p:cNvSpPr txBox="1"/>
            <p:nvPr/>
          </p:nvSpPr>
          <p:spPr>
            <a:xfrm>
              <a:off x="255007" y="294134"/>
              <a:ext cx="587974" cy="4955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ru-RU" sz="1600" dirty="0">
                  <a:solidFill>
                    <a:srgbClr val="FFFFFF"/>
                  </a:solidFill>
                </a:rPr>
                <a:t>3</a:t>
              </a: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6" name="Group 5"/>
          <p:cNvGrpSpPr/>
          <p:nvPr/>
        </p:nvGrpSpPr>
        <p:grpSpPr>
          <a:xfrm>
            <a:off x="4295800" y="3833853"/>
            <a:ext cx="468000" cy="468000"/>
            <a:chOff x="0" y="0"/>
            <a:chExt cx="1097995" cy="1097995"/>
          </a:xfrm>
        </p:grpSpPr>
        <p:pic>
          <p:nvPicPr>
            <p:cNvPr id="47" name="Picture 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48" name="TextBox 7"/>
            <p:cNvSpPr txBox="1"/>
            <p:nvPr/>
          </p:nvSpPr>
          <p:spPr>
            <a:xfrm>
              <a:off x="255007" y="295426"/>
              <a:ext cx="587974" cy="4955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ru-RU" sz="1600" dirty="0">
                  <a:solidFill>
                    <a:srgbClr val="FFFFFF"/>
                  </a:solidFill>
                </a:rPr>
                <a:t>2</a:t>
              </a: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" name="Group 5"/>
          <p:cNvGrpSpPr/>
          <p:nvPr/>
        </p:nvGrpSpPr>
        <p:grpSpPr>
          <a:xfrm>
            <a:off x="613746" y="2888935"/>
            <a:ext cx="468000" cy="468000"/>
            <a:chOff x="0" y="0"/>
            <a:chExt cx="1097995" cy="1097995"/>
          </a:xfrm>
        </p:grpSpPr>
        <p:pic>
          <p:nvPicPr>
            <p:cNvPr id="52" name="Picture 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53" name="TextBox 7"/>
            <p:cNvSpPr txBox="1"/>
            <p:nvPr/>
          </p:nvSpPr>
          <p:spPr>
            <a:xfrm>
              <a:off x="255009" y="287353"/>
              <a:ext cx="587974" cy="49552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en-US" sz="1600" dirty="0" smtClean="0">
                  <a:solidFill>
                    <a:srgbClr val="FFFFFF"/>
                  </a:solidFill>
                </a:rPr>
                <a:t>1</a:t>
              </a: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54" name="Рисунок 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8" t="4057" r="1294" b="4907"/>
          <a:stretch>
            <a:fillRect/>
          </a:stretch>
        </p:blipFill>
        <p:spPr bwMode="auto">
          <a:xfrm>
            <a:off x="267929" y="3433261"/>
            <a:ext cx="3601275" cy="1291762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Рисунок 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5" t="5774" r="2969" b="7196"/>
          <a:stretch>
            <a:fillRect/>
          </a:stretch>
        </p:blipFill>
        <p:spPr bwMode="auto">
          <a:xfrm>
            <a:off x="3214250" y="4411147"/>
            <a:ext cx="4673600" cy="1320800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Рисунок 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0469" y="5057803"/>
            <a:ext cx="4038600" cy="1510241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Текст 2"/>
          <p:cNvSpPr txBox="1">
            <a:spLocks/>
          </p:cNvSpPr>
          <p:nvPr/>
        </p:nvSpPr>
        <p:spPr>
          <a:xfrm>
            <a:off x="1081744" y="2932952"/>
            <a:ext cx="2809594" cy="376528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При первом неверном ответе </a:t>
            </a:r>
            <a:endParaRPr lang="ru-RU" dirty="0"/>
          </a:p>
        </p:txBody>
      </p:sp>
      <p:sp>
        <p:nvSpPr>
          <p:cNvPr id="26" name="Текст 2"/>
          <p:cNvSpPr txBox="1">
            <a:spLocks/>
          </p:cNvSpPr>
          <p:nvPr/>
        </p:nvSpPr>
        <p:spPr>
          <a:xfrm>
            <a:off x="4872492" y="3739170"/>
            <a:ext cx="2803356" cy="52628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При неверном выполнении задания во второй раз</a:t>
            </a:r>
            <a:endParaRPr lang="ru-RU" dirty="0"/>
          </a:p>
        </p:txBody>
      </p:sp>
      <p:sp>
        <p:nvSpPr>
          <p:cNvPr id="27" name="Текст 2"/>
          <p:cNvSpPr txBox="1">
            <a:spLocks/>
          </p:cNvSpPr>
          <p:nvPr/>
        </p:nvSpPr>
        <p:spPr>
          <a:xfrm>
            <a:off x="8903741" y="4410376"/>
            <a:ext cx="2809594" cy="376528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Если ученик в третий раз неверно выполнил задание</a:t>
            </a:r>
            <a:endParaRPr lang="ru-RU" dirty="0"/>
          </a:p>
        </p:txBody>
      </p:sp>
      <p:grpSp>
        <p:nvGrpSpPr>
          <p:cNvPr id="28" name="Группа 2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91344" y="6568044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3826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120858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842500" y="146257"/>
            <a:ext cx="9697077" cy="617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r>
              <a:rPr lang="en-US" sz="2000" dirty="0" err="1">
                <a:latin typeface="+mn-lt"/>
              </a:rPr>
              <a:t>uchitel.club</a:t>
            </a:r>
            <a:r>
              <a:rPr lang="en-US" sz="2000" dirty="0">
                <a:latin typeface="+mn-lt"/>
              </a:rPr>
              <a:t> </a:t>
            </a:r>
            <a:endParaRPr lang="ru-RU" sz="2000" dirty="0" smtClean="0">
              <a:latin typeface="+mn-lt"/>
            </a:endParaRPr>
          </a:p>
          <a:p>
            <a:r>
              <a:rPr lang="ru-RU" sz="2000" dirty="0" smtClean="0">
                <a:latin typeface="+mn-lt"/>
              </a:rPr>
              <a:t>Просвещение. Поддержка</a:t>
            </a:r>
            <a:endParaRPr lang="ru-RU" sz="2000" dirty="0"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649162" y="1036016"/>
            <a:ext cx="3371387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ru-RU" dirty="0" smtClean="0"/>
              <a:t>Портал, на </a:t>
            </a:r>
            <a:r>
              <a:rPr lang="ru-RU" dirty="0"/>
              <a:t>котором </a:t>
            </a:r>
            <a:r>
              <a:rPr lang="ru-RU" dirty="0" smtClean="0"/>
              <a:t>собраны материалы в  помощь учителям и родителям для организации </a:t>
            </a:r>
            <a:r>
              <a:rPr lang="ru-RU" dirty="0"/>
              <a:t>обучения </a:t>
            </a:r>
            <a:endParaRPr lang="ru-RU" dirty="0" smtClean="0"/>
          </a:p>
          <a:p>
            <a:r>
              <a:rPr lang="ru-RU" dirty="0" smtClean="0"/>
              <a:t>Консультации </a:t>
            </a:r>
            <a:r>
              <a:rPr lang="ru-RU" dirty="0"/>
              <a:t>при выполнении домашних заданий в </a:t>
            </a:r>
            <a:r>
              <a:rPr lang="ru-RU" dirty="0" err="1"/>
              <a:t>видеоформате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/>
              <a:t> </a:t>
            </a:r>
            <a:r>
              <a:rPr lang="ru-RU" dirty="0" smtClean="0"/>
              <a:t>Обмен </a:t>
            </a:r>
            <a:r>
              <a:rPr lang="ru-RU" dirty="0"/>
              <a:t>лучшими практиками, их апробация и распространение в сотрудничестве с органами управления </a:t>
            </a:r>
            <a:r>
              <a:rPr lang="ru-RU" dirty="0" smtClean="0"/>
              <a:t>образованием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641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0226" name="Picture 2" descr="C:\Users\MRomanova\Desktop\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89" y="1061082"/>
            <a:ext cx="8218039" cy="52662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91344" y="6568044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3990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4" y="2852936"/>
            <a:ext cx="11819633" cy="336037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6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4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6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2" y="203634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3" y="203634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8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1" y="202455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3" y="1436758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4" y="1436758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2" y="1436758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8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4" y="1436758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4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1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4" y="560565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2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3" y="1819703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3" y="538286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6" y="509540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3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7" y="538052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9" y="524546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9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6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9" y="532049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57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9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5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ГК «Просвещение», 2021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1909445" y="5023147"/>
            <a:ext cx="8459420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54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</a:p>
          <a:p>
            <a:pPr marL="0" indent="0" defTabSz="914354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lang="ru-RU" sz="12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8" name="Picture 19" descr="http://qrcoder.ru/code/?https%3A%2F%2Fshop.prosv.ru%2F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259" y="4725144"/>
            <a:ext cx="1427000" cy="1427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6442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4621875" y="1039090"/>
          <a:ext cx="6400802" cy="4935136"/>
        </p:xfrm>
        <a:graphic>
          <a:graphicData uri="http://schemas.openxmlformats.org/drawingml/2006/table">
            <a:tbl>
              <a:tblPr/>
              <a:tblGrid>
                <a:gridCol w="768404">
                  <a:extLst>
                    <a:ext uri="{9D8B030D-6E8A-4147-A177-3AD203B41FA5}">
                      <a16:colId xmlns:a16="http://schemas.microsoft.com/office/drawing/2014/main" val="1183890948"/>
                    </a:ext>
                  </a:extLst>
                </a:gridCol>
                <a:gridCol w="491777">
                  <a:extLst>
                    <a:ext uri="{9D8B030D-6E8A-4147-A177-3AD203B41FA5}">
                      <a16:colId xmlns:a16="http://schemas.microsoft.com/office/drawing/2014/main" val="2459938120"/>
                    </a:ext>
                  </a:extLst>
                </a:gridCol>
                <a:gridCol w="979715">
                  <a:extLst>
                    <a:ext uri="{9D8B030D-6E8A-4147-A177-3AD203B41FA5}">
                      <a16:colId xmlns:a16="http://schemas.microsoft.com/office/drawing/2014/main" val="283012005"/>
                    </a:ext>
                  </a:extLst>
                </a:gridCol>
                <a:gridCol w="991241">
                  <a:extLst>
                    <a:ext uri="{9D8B030D-6E8A-4147-A177-3AD203B41FA5}">
                      <a16:colId xmlns:a16="http://schemas.microsoft.com/office/drawing/2014/main" val="2325872817"/>
                    </a:ext>
                  </a:extLst>
                </a:gridCol>
                <a:gridCol w="1060397">
                  <a:extLst>
                    <a:ext uri="{9D8B030D-6E8A-4147-A177-3AD203B41FA5}">
                      <a16:colId xmlns:a16="http://schemas.microsoft.com/office/drawing/2014/main" val="3068169888"/>
                    </a:ext>
                  </a:extLst>
                </a:gridCol>
                <a:gridCol w="1083449">
                  <a:extLst>
                    <a:ext uri="{9D8B030D-6E8A-4147-A177-3AD203B41FA5}">
                      <a16:colId xmlns:a16="http://schemas.microsoft.com/office/drawing/2014/main" val="2304222529"/>
                    </a:ext>
                  </a:extLst>
                </a:gridCol>
                <a:gridCol w="1025819">
                  <a:extLst>
                    <a:ext uri="{9D8B030D-6E8A-4147-A177-3AD203B41FA5}">
                      <a16:colId xmlns:a16="http://schemas.microsoft.com/office/drawing/2014/main" val="1524831179"/>
                    </a:ext>
                  </a:extLst>
                </a:gridCol>
              </a:tblGrid>
              <a:tr h="235008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чебный год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5907037"/>
                  </a:ext>
                </a:extLst>
              </a:tr>
              <a:tr h="235008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2266804"/>
                  </a:ext>
                </a:extLst>
              </a:tr>
              <a:tr h="23500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ассы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/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/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/2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/2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6/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4631066"/>
                  </a:ext>
                </a:extLst>
              </a:tr>
              <a:tr h="246756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417718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9135714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578799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0571095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462171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7312722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42768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6192827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583516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065824"/>
                  </a:ext>
                </a:extLst>
              </a:tr>
              <a:tr h="246756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чебники, соответствующие ФГОС-2021 включены в ФПУ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0163192"/>
                  </a:ext>
                </a:extLst>
              </a:tr>
              <a:tr h="246756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7488031"/>
                  </a:ext>
                </a:extLst>
              </a:tr>
              <a:tr h="246756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2486254"/>
                  </a:ext>
                </a:extLst>
              </a:tr>
              <a:tr h="446513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язательное введение ФГОС-2021</a:t>
                      </a:r>
                    </a:p>
                  </a:txBody>
                  <a:tcPr marL="9525" marR="9525" marT="9525" marB="0" anchor="ctr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8802235"/>
                  </a:ext>
                </a:extLst>
              </a:tr>
              <a:tr h="470012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комендуемое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инпросвещения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РФ введение ФГОС-2021, </a:t>
                      </a:r>
                      <a:b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.ч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дельным предметам</a:t>
                      </a:r>
                    </a:p>
                  </a:txBody>
                  <a:tcPr marL="9525" marR="9525" marT="9525" marB="0" anchor="ctr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106282"/>
                  </a:ext>
                </a:extLst>
              </a:tr>
            </a:tbl>
          </a:graphicData>
        </a:graphic>
      </p:graphicFrame>
      <p:sp>
        <p:nvSpPr>
          <p:cNvPr id="70" name="Прямоугольник 69"/>
          <p:cNvSpPr/>
          <p:nvPr/>
        </p:nvSpPr>
        <p:spPr>
          <a:xfrm>
            <a:off x="6824752" y="1210359"/>
            <a:ext cx="4197925" cy="3557571"/>
          </a:xfrm>
          <a:prstGeom prst="rect">
            <a:avLst/>
          </a:prstGeom>
          <a:solidFill>
            <a:schemeClr val="accent1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pSp>
        <p:nvGrpSpPr>
          <p:cNvPr id="48" name="Группа 4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4" name="Прямая соединительная линия 63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881507" y="194745"/>
            <a:ext cx="10230137" cy="5640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ФГОС – 2021: сроки введения и рекомендации ГК «Просвещение» по переход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65282" y="1629799"/>
            <a:ext cx="4273714" cy="1944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b="1" dirty="0" smtClean="0"/>
              <a:t>2022 – </a:t>
            </a:r>
            <a:r>
              <a:rPr lang="ru-RU" sz="1400" dirty="0" smtClean="0"/>
              <a:t>переход на ФГОС с использованием учебников </a:t>
            </a:r>
            <a:r>
              <a:rPr lang="ru-RU" sz="1400" b="1" dirty="0" smtClean="0"/>
              <a:t>действующего ФПУ для учащихся, зачисленных в 1 и 5 классы в 2022 г.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400" b="1" dirty="0"/>
              <a:t>2022 год </a:t>
            </a:r>
            <a:r>
              <a:rPr lang="ru-RU" sz="1400" dirty="0"/>
              <a:t>– возможность для школ </a:t>
            </a:r>
            <a:r>
              <a:rPr lang="ru-RU" sz="1400" b="1" dirty="0"/>
              <a:t>докупить актуальные учебники </a:t>
            </a:r>
            <a:r>
              <a:rPr lang="ru-RU" sz="1400" dirty="0"/>
              <a:t>(не ранее 2020 года издания) </a:t>
            </a:r>
            <a:r>
              <a:rPr lang="ru-RU" sz="1400" b="1" dirty="0"/>
              <a:t>и компоненты УМК, соответствующие ФГОС НОО и ООО 2009, 2010 гг.  для учащихся, зачисленных на обучение до 2022 г.  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24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370240" y="4036299"/>
            <a:ext cx="421402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ea typeface="Open Sans" panose="020B0606030504020204" pitchFamily="34" charset="0"/>
                <a:cs typeface="Open Sans" panose="020B0606030504020204" pitchFamily="34" charset="0"/>
              </a:rPr>
              <a:t>Для учащихся </a:t>
            </a:r>
            <a:r>
              <a:rPr lang="ru-RU" b="1" dirty="0">
                <a:ea typeface="Open Sans" panose="020B0606030504020204" pitchFamily="34" charset="0"/>
                <a:cs typeface="Open Sans" panose="020B0606030504020204" pitchFamily="34" charset="0"/>
              </a:rPr>
              <a:t>1 классов</a:t>
            </a:r>
            <a:r>
              <a:rPr lang="ru-RU" dirty="0">
                <a:ea typeface="Open Sans" panose="020B0606030504020204" pitchFamily="34" charset="0"/>
                <a:cs typeface="Open Sans" panose="020B0606030504020204" pitchFamily="34" charset="0"/>
              </a:rPr>
              <a:t>, зачисленных в </a:t>
            </a:r>
            <a:r>
              <a:rPr lang="ru-RU" b="1" dirty="0">
                <a:ea typeface="Open Sans" panose="020B0606030504020204" pitchFamily="34" charset="0"/>
                <a:cs typeface="Open Sans" panose="020B0606030504020204" pitchFamily="34" charset="0"/>
              </a:rPr>
              <a:t>2021 г.</a:t>
            </a:r>
            <a:r>
              <a:rPr lang="ru-RU" dirty="0">
                <a:ea typeface="Open Sans" panose="020B0606030504020204" pitchFamily="34" charset="0"/>
                <a:cs typeface="Open Sans" panose="020B0606030504020204" pitchFamily="34" charset="0"/>
              </a:rPr>
              <a:t>, предусмотреть </a:t>
            </a:r>
            <a:r>
              <a:rPr lang="ru-RU" b="1" dirty="0">
                <a:ea typeface="Open Sans" panose="020B0606030504020204" pitchFamily="34" charset="0"/>
                <a:cs typeface="Open Sans" panose="020B0606030504020204" pitchFamily="34" charset="0"/>
              </a:rPr>
              <a:t>обеспечение библиотечных фондов учебниками на 3 года для 2 – 4 классов,</a:t>
            </a:r>
            <a:r>
              <a:rPr lang="ru-RU" dirty="0">
                <a:ea typeface="Open Sans" panose="020B0606030504020204" pitchFamily="34" charset="0"/>
                <a:cs typeface="Open Sans" panose="020B0606030504020204" pitchFamily="34" charset="0"/>
              </a:rPr>
              <a:t> соответствующих </a:t>
            </a:r>
            <a:r>
              <a:rPr lang="ru-RU" b="1" dirty="0">
                <a:ea typeface="Open Sans" panose="020B0606030504020204" pitchFamily="34" charset="0"/>
                <a:cs typeface="Open Sans" panose="020B0606030504020204" pitchFamily="34" charset="0"/>
              </a:rPr>
              <a:t>ФГОС НОО – 2009 г. </a:t>
            </a:r>
          </a:p>
        </p:txBody>
      </p:sp>
    </p:spTree>
    <p:extLst>
      <p:ext uri="{BB962C8B-B14F-4D97-AF65-F5344CB8AC3E}">
        <p14:creationId xmlns:p14="http://schemas.microsoft.com/office/powerpoint/2010/main" val="824601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/>
          <p:nvPr/>
        </p:nvGrpSpPr>
        <p:grpSpPr>
          <a:xfrm>
            <a:off x="335361" y="231397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785444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1770318" y="97179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819238" y="274351"/>
            <a:ext cx="9677392" cy="56400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2000" b="1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defRPr>
            </a:lvl1pPr>
          </a:lstStyle>
          <a:p>
            <a:pPr>
              <a:lnSpc>
                <a:spcPts val="4160"/>
              </a:lnSpc>
              <a:spcBef>
                <a:spcPct val="0"/>
              </a:spcBef>
              <a:defRPr/>
            </a:pPr>
            <a:r>
              <a:rPr lang="ru-RU" dirty="0"/>
              <a:t>НАЧАЛЬНОЕ ОБЩЕЕ ОБРАЗОВАНИЕ</a:t>
            </a:r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2433764"/>
              </p:ext>
            </p:extLst>
          </p:nvPr>
        </p:nvGraphicFramePr>
        <p:xfrm>
          <a:off x="335362" y="903196"/>
          <a:ext cx="11340449" cy="5053245"/>
        </p:xfrm>
        <a:graphic>
          <a:graphicData uri="http://schemas.openxmlformats.org/drawingml/2006/table">
            <a:tbl>
              <a:tblPr/>
              <a:tblGrid>
                <a:gridCol w="2440425">
                  <a:extLst>
                    <a:ext uri="{9D8B030D-6E8A-4147-A177-3AD203B41FA5}">
                      <a16:colId xmlns:a16="http://schemas.microsoft.com/office/drawing/2014/main" val="152928745"/>
                    </a:ext>
                  </a:extLst>
                </a:gridCol>
                <a:gridCol w="3044163">
                  <a:extLst>
                    <a:ext uri="{9D8B030D-6E8A-4147-A177-3AD203B41FA5}">
                      <a16:colId xmlns:a16="http://schemas.microsoft.com/office/drawing/2014/main" val="2898738426"/>
                    </a:ext>
                  </a:extLst>
                </a:gridCol>
                <a:gridCol w="2777963">
                  <a:extLst>
                    <a:ext uri="{9D8B030D-6E8A-4147-A177-3AD203B41FA5}">
                      <a16:colId xmlns:a16="http://schemas.microsoft.com/office/drawing/2014/main" val="949484527"/>
                    </a:ext>
                  </a:extLst>
                </a:gridCol>
                <a:gridCol w="3077898">
                  <a:extLst>
                    <a:ext uri="{9D8B030D-6E8A-4147-A177-3AD203B41FA5}">
                      <a16:colId xmlns:a16="http://schemas.microsoft.com/office/drawing/2014/main" val="3524176808"/>
                    </a:ext>
                  </a:extLst>
                </a:gridCol>
              </a:tblGrid>
              <a:tr h="370570">
                <a:tc>
                  <a:txBody>
                    <a:bodyPr/>
                    <a:lstStyle/>
                    <a:p>
                      <a:pPr algn="r" fontAlgn="ctr"/>
                      <a:endParaRPr lang="ru-RU" sz="14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ШКОЛА РОССИИ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ПЕРСПЕКТИВА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НАЧАЛЬНАЯ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 ШКОЛА </a:t>
                      </a:r>
                      <a:r>
                        <a:rPr lang="en-US" sz="1400" b="1" i="0" u="none" strike="noStrike" baseline="0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XXI</a:t>
                      </a:r>
                      <a:endParaRPr lang="ru-RU" sz="1400" b="1" i="0" u="none" strike="noStrike" dirty="0" smtClean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391618"/>
                  </a:ext>
                </a:extLst>
              </a:tr>
              <a:tr h="488359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ОБУЧЕНИЕ ГРАМОТЕ</a:t>
                      </a:r>
                      <a:endParaRPr lang="ru-RU" sz="14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108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В.Г.Горецкий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и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др. 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(1 )</a:t>
                      </a:r>
                      <a:endParaRPr lang="ru-RU" sz="1400" b="0" i="0" u="none" strike="noStrike" dirty="0">
                        <a:solidFill>
                          <a:srgbClr val="00339A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Л.Ф.Климанова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С.Г.Макеева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(</a:t>
                      </a:r>
                      <a:r>
                        <a:rPr lang="ru-RU" sz="1400" b="0" i="0" u="none" strike="noStrike" dirty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1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Л.Е.</a:t>
                      </a:r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Журов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ru-RU" sz="1400" b="0" i="0" u="none" strike="noStrike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А.О.Евдокимов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(1)</a:t>
                      </a:r>
                      <a:endParaRPr lang="ru-RU" sz="1400" b="0" i="0" u="none" strike="noStrike" dirty="0">
                        <a:solidFill>
                          <a:srgbClr val="00339A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7324738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РУССКИЙ ЯЗЫК</a:t>
                      </a:r>
                      <a:endParaRPr lang="ru-RU" sz="14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108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В.П.Канакина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В.Г.Горецкий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(</a:t>
                      </a:r>
                      <a:r>
                        <a:rPr lang="ru-RU" sz="1400" b="0" i="0" u="none" strike="noStrike" dirty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1-4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Л.Ф.Климанова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и др. (1-4</a:t>
                      </a:r>
                      <a:r>
                        <a:rPr lang="ru-RU" sz="1400" b="0" i="0" u="none" strike="noStrike" dirty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i="0" u="none" strike="noStrike" kern="120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од ред.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.В.Иванова</a:t>
                      </a:r>
                      <a:r>
                        <a:rPr lang="ru-RU" sz="1400" b="0" i="0" u="none" strike="noStrike" kern="120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1-4)</a:t>
                      </a:r>
                      <a:endParaRPr lang="ru-RU" sz="1400" b="0" i="0" u="none" strike="noStrike" kern="1200" dirty="0">
                        <a:solidFill>
                          <a:srgbClr val="00339A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97694"/>
                  </a:ext>
                </a:extLst>
              </a:tr>
              <a:tr h="521058">
                <a:tc rowSpan="2">
                  <a:txBody>
                    <a:bodyPr/>
                    <a:lstStyle/>
                    <a:p>
                      <a:pPr algn="r" fontAlgn="b"/>
                      <a:endParaRPr lang="ru-RU" sz="1400" b="1" i="0" u="none" strike="noStrike" dirty="0" smtClean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ЛИТЕРАТУРНОЕ ЧТЕНИЕ</a:t>
                      </a:r>
                      <a:endParaRPr lang="ru-RU" sz="14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108000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Л.Ф.Климанова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ru-RU" sz="1400" b="0" i="0" u="none" strike="noStrike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В.Г.Горецкий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ru-RU" sz="1400" b="0" i="0" u="none" strike="noStrike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М.В.Голованов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и </a:t>
                      </a:r>
                      <a:r>
                        <a:rPr lang="ru-RU" sz="1400" b="0" i="0" u="none" strike="noStrike" dirty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др. (1-4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Л.Ф.Климанова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и </a:t>
                      </a:r>
                      <a:r>
                        <a:rPr lang="ru-RU" sz="1400" b="0" i="0" u="none" strike="noStrike" dirty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др. (1-4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Л.А.Ефросинина (1-4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1818999"/>
                  </a:ext>
                </a:extLst>
              </a:tr>
              <a:tr h="5197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rgbClr val="00339A"/>
                        </a:solidFill>
                      </a:endParaRP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cap="none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Н.Ф.Виноградова</a:t>
                      </a:r>
                      <a:r>
                        <a:rPr lang="ru-RU" sz="14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,</a:t>
                      </a:r>
                      <a:r>
                        <a:rPr lang="ru-RU" sz="1400" b="0" i="0" u="none" strike="noStrike" cap="none" baseline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400" b="0" i="0" u="none" strike="noStrike" cap="none" baseline="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И.С.</a:t>
                      </a:r>
                      <a:r>
                        <a:rPr lang="ru-RU" sz="1400" b="0" i="0" u="none" strike="noStrike" cap="none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Хомякова</a:t>
                      </a:r>
                      <a:r>
                        <a:rPr lang="ru-RU" sz="14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,</a:t>
                      </a:r>
                      <a:r>
                        <a:rPr lang="ru-RU" sz="1400" b="0" i="0" u="none" strike="noStrike" cap="none" baseline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400" b="0" i="0" u="none" strike="noStrike" cap="none" baseline="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И.В.</a:t>
                      </a:r>
                      <a:r>
                        <a:rPr lang="ru-RU" sz="1400" b="0" i="0" u="none" strike="noStrike" cap="none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Сафонова</a:t>
                      </a:r>
                      <a:r>
                        <a:rPr lang="ru-RU" sz="14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и др.</a:t>
                      </a:r>
                      <a:r>
                        <a:rPr lang="ru-RU" sz="1400" b="0" i="0" u="none" strike="noStrike" cap="none" baseline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4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(1-4)</a:t>
                      </a:r>
                      <a:endParaRPr lang="ru-RU" sz="1400" b="0" dirty="0" smtClean="0">
                        <a:solidFill>
                          <a:srgbClr val="00339A"/>
                        </a:solidFill>
                        <a:latin typeface="+mn-lt"/>
                      </a:endParaRP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359310"/>
                  </a:ext>
                </a:extLst>
              </a:tr>
              <a:tr h="565034">
                <a:tc rowSpan="2">
                  <a:txBody>
                    <a:bodyPr/>
                    <a:lstStyle/>
                    <a:p>
                      <a:pPr algn="r" fontAlgn="b"/>
                      <a:endParaRPr lang="ru-RU" sz="1400" b="1" i="0" u="none" strike="noStrike" dirty="0" smtClean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</a:t>
                      </a:r>
                      <a:endParaRPr lang="ru-RU" sz="14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108000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М.И.Моро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и </a:t>
                      </a:r>
                      <a:r>
                        <a:rPr lang="ru-RU" sz="1400" b="0" i="0" u="none" strike="noStrike" dirty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др. (1-4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Г.В.Дорофеев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400" b="0" i="0" u="none" strike="noStrike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Т.Н.Мираков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ru-RU" sz="1400" b="0" i="0" u="none" strike="noStrike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Т.Б</a:t>
                      </a:r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r>
                        <a:rPr lang="ru-RU" sz="1400" b="0" i="0" u="none" strike="noStrike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Бук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400" b="0" i="0" u="none" strike="noStrike" dirty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1-4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В.Н.Рудницкая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Е.Э.Кочурова, </a:t>
                      </a:r>
                      <a:r>
                        <a:rPr lang="ru-RU" sz="14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О.А.Рыдзе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4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Т.В.Юдачёва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 (1-4)</a:t>
                      </a:r>
                      <a:endParaRPr lang="ru-RU" sz="1400" b="0" i="0" u="none" strike="noStrike" kern="1200" baseline="0" dirty="0" smtClean="0">
                        <a:solidFill>
                          <a:srgbClr val="00339A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624724"/>
                  </a:ext>
                </a:extLst>
              </a:tr>
              <a:tr h="5802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rgbClr val="00339A"/>
                        </a:solidFill>
                      </a:endParaRPr>
                    </a:p>
                  </a:txBody>
                  <a:tcPr marL="72000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С.С.Минаев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4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Л.О.Рослова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О.А.Рыдзе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(1-4)</a:t>
                      </a:r>
                      <a:endParaRPr lang="ru-RU" sz="1400" b="0" i="0" u="none" strike="noStrike" kern="1200" baseline="0" dirty="0" smtClean="0">
                        <a:solidFill>
                          <a:srgbClr val="00339A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177011"/>
                  </a:ext>
                </a:extLst>
              </a:tr>
              <a:tr h="546873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ОКРУЖАЮЩИЙ МИР</a:t>
                      </a:r>
                      <a:endParaRPr lang="ru-RU" sz="14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108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А.А.Плешаков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(</a:t>
                      </a:r>
                      <a:r>
                        <a:rPr lang="ru-RU" sz="1400" b="0" i="0" u="none" strike="noStrike" dirty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1-4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А.А.Плешаков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М.Ю.Новицкая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(</a:t>
                      </a:r>
                      <a:r>
                        <a:rPr lang="ru-RU" sz="1400" b="0" i="0" u="none" strike="noStrike" dirty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1-4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Н.Ф.Виноградова</a:t>
                      </a:r>
                      <a:r>
                        <a:rPr lang="ru-RU" sz="1400" b="0" i="0" u="none" strike="noStrike" kern="120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.Г.Калинова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i="0" u="none" strike="noStrike" kern="120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1-4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8180950"/>
                  </a:ext>
                </a:extLst>
              </a:tr>
              <a:tr h="486486">
                <a:tc rowSpan="2">
                  <a:txBody>
                    <a:bodyPr/>
                    <a:lstStyle/>
                    <a:p>
                      <a:pPr algn="r" fontAlgn="b"/>
                      <a:endParaRPr lang="ru-RU" sz="1400" b="1" i="0" u="none" strike="noStrike" dirty="0" smtClean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3366"/>
                          </a:solidFill>
                          <a:effectLst/>
                          <a:latin typeface="Calibri" panose="020F0502020204030204" pitchFamily="34" charset="0"/>
                        </a:rPr>
                        <a:t>ТЕХНОЛОГИЯ</a:t>
                      </a:r>
                      <a:endParaRPr lang="ru-RU" sz="1400" b="1" i="0" u="none" strike="noStrike" dirty="0">
                        <a:solidFill>
                          <a:srgbClr val="00336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108000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Е.А.Лутцева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400" b="0" i="0" u="none" strike="noStrike" baseline="0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Т.П.Зуев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(1-4)</a:t>
                      </a:r>
                      <a:endParaRPr lang="ru-RU" sz="1400" b="0" i="0" u="none" strike="noStrike" dirty="0">
                        <a:solidFill>
                          <a:srgbClr val="00339A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err="1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Н.И.Роговцева</a:t>
                      </a:r>
                      <a:r>
                        <a:rPr lang="ru-RU" sz="1400" b="0" i="0" u="none" strike="noStrike" dirty="0" smtClean="0">
                          <a:solidFill>
                            <a:srgbClr val="00339A"/>
                          </a:solidFill>
                          <a:effectLst/>
                          <a:latin typeface="Calibri" panose="020F0502020204030204" pitchFamily="34" charset="0"/>
                        </a:rPr>
                        <a:t> и др. (1-4)</a:t>
                      </a:r>
                    </a:p>
                  </a:txBody>
                  <a:tcPr marL="72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err="1" smtClean="0">
                          <a:solidFill>
                            <a:srgbClr val="00339A"/>
                          </a:solidFill>
                          <a:latin typeface="+mn-lt"/>
                        </a:rPr>
                        <a:t>Е.А.Лутцева</a:t>
                      </a:r>
                      <a:r>
                        <a:rPr lang="ru-RU" sz="1400" b="0" dirty="0" smtClean="0">
                          <a:solidFill>
                            <a:srgbClr val="00339A"/>
                          </a:solidFill>
                          <a:latin typeface="+mn-lt"/>
                        </a:rPr>
                        <a:t> </a:t>
                      </a:r>
                      <a:r>
                        <a:rPr lang="ru-RU" sz="1400" b="0" baseline="0" dirty="0" smtClean="0">
                          <a:solidFill>
                            <a:srgbClr val="00339A"/>
                          </a:solidFill>
                          <a:latin typeface="+mn-lt"/>
                        </a:rPr>
                        <a:t>(1-4)</a:t>
                      </a:r>
                      <a:endParaRPr lang="ru-RU" sz="1400" b="0" dirty="0">
                        <a:solidFill>
                          <a:srgbClr val="00339A"/>
                        </a:solidFill>
                        <a:latin typeface="+mn-lt"/>
                      </a:endParaRPr>
                    </a:p>
                  </a:txBody>
                  <a:tcPr marL="144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314606"/>
                  </a:ext>
                </a:extLst>
              </a:tr>
              <a:tr h="498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>
                        <a:solidFill>
                          <a:srgbClr val="00339A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9525" marT="952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cap="none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М.В.Хохлова</a:t>
                      </a:r>
                      <a:r>
                        <a:rPr lang="ru-RU" sz="14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,</a:t>
                      </a:r>
                      <a:r>
                        <a:rPr lang="ru-RU" sz="1400" b="0" i="0" u="none" strike="noStrike" cap="none" baseline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400" b="0" i="0" u="none" strike="noStrike" cap="none" baseline="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Н.В.</a:t>
                      </a:r>
                      <a:r>
                        <a:rPr lang="ru-RU" sz="1400" b="0" i="0" u="none" strike="noStrike" cap="none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Синица</a:t>
                      </a:r>
                      <a:r>
                        <a:rPr lang="ru-RU" sz="14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,</a:t>
                      </a:r>
                      <a:r>
                        <a:rPr lang="ru-RU" sz="1400" b="0" i="0" u="none" strike="noStrike" cap="none" baseline="0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400" b="0" i="0" u="none" strike="noStrike" cap="none" baseline="0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В.Д.</a:t>
                      </a:r>
                      <a:r>
                        <a:rPr lang="ru-RU" sz="1400" b="0" i="0" u="none" strike="noStrike" cap="none" dirty="0" err="1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Симоненко</a:t>
                      </a:r>
                      <a:r>
                        <a:rPr lang="ru-RU" sz="1400" b="0" i="0" u="none" strike="noStrike" cap="none" dirty="0" smtClean="0">
                          <a:solidFill>
                            <a:srgbClr val="00339A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и др.(1-4)</a:t>
                      </a:r>
                      <a:endParaRPr lang="ru-RU" sz="1400" b="0" dirty="0" smtClean="0">
                        <a:solidFill>
                          <a:srgbClr val="00339A"/>
                        </a:solidFill>
                        <a:latin typeface="+mn-lt"/>
                      </a:endParaRPr>
                    </a:p>
                  </a:txBody>
                  <a:tcPr marL="144000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818" y="2280308"/>
            <a:ext cx="1064034" cy="29984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833347" y="6332203"/>
            <a:ext cx="1494537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339A"/>
                </a:solidFill>
              </a:rPr>
              <a:t>в ФПУ</a:t>
            </a:r>
            <a:endParaRPr lang="ru-RU" sz="1400" dirty="0">
              <a:solidFill>
                <a:srgbClr val="00339A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6170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1747897" y="113286"/>
            <a:ext cx="10444103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ая рабочая программа начального общего образования по литературному чтению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half" idx="1"/>
          </p:nvPr>
        </p:nvSpPr>
        <p:spPr bwMode="auto">
          <a:xfrm>
            <a:off x="630048" y="1161891"/>
            <a:ext cx="5181600" cy="4351338"/>
          </a:xfrm>
        </p:spPr>
        <p:txBody>
          <a:bodyPr>
            <a:normAutofit lnSpcReduction="10000"/>
          </a:bodyPr>
          <a:lstStyle/>
          <a:p>
            <a:pPr marL="0" indent="0">
              <a:buFont typeface="Arial"/>
              <a:buNone/>
              <a:defRPr/>
            </a:pPr>
            <a:r>
              <a:rPr lang="ru-RU" sz="1700" b="1" dirty="0"/>
              <a:t>Основные особенности  содержания примерной рабочей программы </a:t>
            </a:r>
          </a:p>
          <a:p>
            <a:pPr>
              <a:defRPr/>
            </a:pPr>
            <a:r>
              <a:rPr lang="ru-RU" sz="2000" dirty="0" smtClean="0"/>
              <a:t>Соотнесены личностные и </a:t>
            </a:r>
            <a:r>
              <a:rPr lang="ru-RU" sz="2000" dirty="0" err="1" smtClean="0"/>
              <a:t>метапредметные</a:t>
            </a:r>
            <a:r>
              <a:rPr lang="ru-RU" sz="2000" dirty="0" smtClean="0"/>
              <a:t> результаты со спецификой предметного содержания </a:t>
            </a:r>
          </a:p>
          <a:p>
            <a:pPr>
              <a:defRPr/>
            </a:pPr>
            <a:r>
              <a:rPr lang="ru-RU" sz="2000" dirty="0" smtClean="0"/>
              <a:t>Усилено внимание к личностным результатам: обогащение нравственного опыта через организацию учебного диалога</a:t>
            </a:r>
          </a:p>
          <a:p>
            <a:pPr>
              <a:defRPr/>
            </a:pPr>
            <a:r>
              <a:rPr lang="ru-RU" sz="2000" dirty="0" smtClean="0"/>
              <a:t>Выделен специальный подраздел в </a:t>
            </a:r>
            <a:r>
              <a:rPr lang="ru-RU" sz="2000" dirty="0" err="1" smtClean="0"/>
              <a:t>метапредметных</a:t>
            </a:r>
            <a:r>
              <a:rPr lang="ru-RU" sz="2000" dirty="0" smtClean="0"/>
              <a:t> результатах: совместная деятельность</a:t>
            </a:r>
          </a:p>
          <a:p>
            <a:pPr>
              <a:defRPr/>
            </a:pPr>
            <a:r>
              <a:rPr lang="ru-RU" sz="2000" dirty="0" smtClean="0"/>
              <a:t>Распределены предметные результаты по годам обучения </a:t>
            </a:r>
          </a:p>
          <a:p>
            <a:pPr>
              <a:defRPr/>
            </a:pPr>
            <a:endParaRPr lang="ru-RU" sz="2000" dirty="0" smtClean="0"/>
          </a:p>
          <a:p>
            <a:pPr marL="0" indent="0">
              <a:buNone/>
              <a:defRPr/>
            </a:pPr>
            <a:endParaRPr lang="ru-RU" sz="2000" dirty="0"/>
          </a:p>
        </p:txBody>
      </p:sp>
      <p:sp>
        <p:nvSpPr>
          <p:cNvPr id="7" name="Прямоугольник 7"/>
          <p:cNvSpPr/>
          <p:nvPr/>
        </p:nvSpPr>
        <p:spPr bwMode="auto">
          <a:xfrm>
            <a:off x="5909012" y="5661248"/>
            <a:ext cx="4968552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defRPr/>
            </a:pPr>
            <a:r>
              <a:rPr lang="en-US" sz="2000" spc="-19" dirty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  <a:hlinkClick r:id="rId2"/>
              </a:rPr>
              <a:t>https://</a:t>
            </a:r>
            <a:r>
              <a:rPr lang="en-US" sz="2000" spc="-19" dirty="0" smtClean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  <a:hlinkClick r:id="rId2"/>
              </a:rPr>
              <a:t>clck.ru/ZNjjf</a:t>
            </a:r>
            <a:r>
              <a:rPr lang="ru-RU" sz="2000" spc="-19" dirty="0" smtClean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</a:rPr>
              <a:t> </a:t>
            </a:r>
            <a:endParaRPr lang="ru-RU" sz="2000" b="0" i="0" u="none" strike="noStrike" cap="none" spc="-19" dirty="0">
              <a:ln w="0"/>
              <a:solidFill>
                <a:srgbClr val="2D2B8D"/>
              </a:solidFill>
              <a:latin typeface="+mj-lt"/>
              <a:ea typeface="+mj-lt"/>
              <a:cs typeface="+mj-lt"/>
            </a:endParaRPr>
          </a:p>
        </p:txBody>
      </p:sp>
      <p:sp>
        <p:nvSpPr>
          <p:cNvPr id="9" name="Прямоугольник 37"/>
          <p:cNvSpPr/>
          <p:nvPr/>
        </p:nvSpPr>
        <p:spPr bwMode="auto">
          <a:xfrm>
            <a:off x="0" y="6615411"/>
            <a:ext cx="2718262" cy="1631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lang="ru-RU" sz="1000" dirty="0">
              <a:solidFill>
                <a:schemeClr val="bg1">
                  <a:lumMod val="65000"/>
                </a:schemeClr>
              </a:solidFill>
              <a:cs typeface="Times New Roman"/>
            </a:endParaRPr>
          </a:p>
        </p:txBody>
      </p:sp>
      <p:grpSp>
        <p:nvGrpSpPr>
          <p:cNvPr id="10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1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5" name="Прямая соединительная линия 25"/>
          <p:cNvCxnSpPr>
            <a:cxnSpLocks/>
          </p:cNvCxnSpPr>
          <p:nvPr/>
        </p:nvCxnSpPr>
        <p:spPr bwMode="auto">
          <a:xfrm>
            <a:off x="1753355" y="-2967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Объект 2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816080" y="1085515"/>
            <a:ext cx="3433601" cy="43513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36262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465</TotalTime>
  <Words>7905</Words>
  <Application>Microsoft Office PowerPoint</Application>
  <PresentationFormat>Широкоэкранный</PresentationFormat>
  <Paragraphs>1123</Paragraphs>
  <Slides>64</Slides>
  <Notes>2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4</vt:i4>
      </vt:variant>
    </vt:vector>
  </HeadingPairs>
  <TitlesOfParts>
    <vt:vector size="89" baseType="lpstr">
      <vt:lpstr>Yu Gothic UI Light</vt:lpstr>
      <vt:lpstr>Yu Gothic UI Semibold</vt:lpstr>
      <vt:lpstr>Arial</vt:lpstr>
      <vt:lpstr>Arial Narrow</vt:lpstr>
      <vt:lpstr>Arimo Bold Italics</vt:lpstr>
      <vt:lpstr>Arimo Italics</vt:lpstr>
      <vt:lpstr>Avenir Book</vt:lpstr>
      <vt:lpstr>Calibri</vt:lpstr>
      <vt:lpstr>Calibri Light</vt:lpstr>
      <vt:lpstr>Clear Sans Bold</vt:lpstr>
      <vt:lpstr>Courier New</vt:lpstr>
      <vt:lpstr>Franklin Gothic Book</vt:lpstr>
      <vt:lpstr>FuturaPT-Book</vt:lpstr>
      <vt:lpstr>Helvetica Light</vt:lpstr>
      <vt:lpstr>Helvetica Neue Black Condensed</vt:lpstr>
      <vt:lpstr>Lato</vt:lpstr>
      <vt:lpstr>Lato Bold</vt:lpstr>
      <vt:lpstr>Open Sans</vt:lpstr>
      <vt:lpstr>Open Sans Condensed</vt:lpstr>
      <vt:lpstr>Open Sans Light</vt:lpstr>
      <vt:lpstr>Roboto Condensed</vt:lpstr>
      <vt:lpstr>Times New Roman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Когда в ФПУ появятся учебники, соответствующие ФГОС-2021?</vt:lpstr>
      <vt:lpstr>Презентация PowerPoint</vt:lpstr>
      <vt:lpstr>Презентация PowerPoint</vt:lpstr>
      <vt:lpstr>Презентация PowerPoint</vt:lpstr>
      <vt:lpstr>Презентация PowerPoint</vt:lpstr>
      <vt:lpstr>Примерная рабочая программа начального общего образования по литературному чтению</vt:lpstr>
      <vt:lpstr>Примерная рабочая программа начального общего образования по математике</vt:lpstr>
      <vt:lpstr>Примерная рабочая программа начального общего образования по русскому языку</vt:lpstr>
      <vt:lpstr>Примерная рабочая программа основного общего образования по окружающему миру</vt:lpstr>
      <vt:lpstr>Презентация PowerPoint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Рекомендации по работе с  отсутствующим разделом «Произведения о маме»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Рекомендации  по компенсации отсутствующих  элементов  содержания учебника</vt:lpstr>
      <vt:lpstr>Презентация PowerPoint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Рекомендации по компенсации отсутствующих элементов содержания учебника «Окружающий мир» Плешакова А.А., Новицкая М.Ю.</vt:lpstr>
      <vt:lpstr>Презентация PowerPoint</vt:lpstr>
      <vt:lpstr>Презентация PowerPoint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Рекомендации по компенсации отсутствующих элементов содержания </vt:lpstr>
      <vt:lpstr>Соответствие содержания учебника разделам примерной рабочей программы</vt:lpstr>
      <vt:lpstr>Рекомендации по компенсации отсутствующих элементов содерж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ифровой банк заданий функциональной грамотности</vt:lpstr>
      <vt:lpstr>Цифровой банк заданий функциональной грамотности</vt:lpstr>
      <vt:lpstr>Цифровой банк заданий функциональной грамотности</vt:lpstr>
      <vt:lpstr>Как устроено задание</vt:lpstr>
      <vt:lpstr> Читательская грамотность</vt:lpstr>
      <vt:lpstr>ЦИФРОВОЙ СЕРВИС «НАЧИНАЙЗЕР»:  ПОМОЩЬ РОДИТЕЛЯМ ПЕРВОКЛАССНИКОВ В ДОСТУПНОМ ОБЪЯСНЕНИИ ДОМАШНИХ ЗАДАНИЙ</vt:lpstr>
      <vt:lpstr>Презентация PowerPoint</vt:lpstr>
      <vt:lpstr>Презентация PowerPoint</vt:lpstr>
      <vt:lpstr>ЦИФРОВОЙ СЕРВИС «НАЧИНАЙЗЕР»:  КОМПЛЕКСНАЯ ПОДГОТОВКА К ВПР ПО МАТЕМАТИКЕ В 4 КЛАССЕ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ачева Екатерина Андреевна</dc:creator>
  <cp:lastModifiedBy>Самсонова Ольга Юрьевна</cp:lastModifiedBy>
  <cp:revision>1179</cp:revision>
  <cp:lastPrinted>2021-03-16T08:22:57Z</cp:lastPrinted>
  <dcterms:created xsi:type="dcterms:W3CDTF">2020-02-25T09:30:21Z</dcterms:created>
  <dcterms:modified xsi:type="dcterms:W3CDTF">2022-02-09T12:10:41Z</dcterms:modified>
</cp:coreProperties>
</file>